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embeddings/oleObject3.bin" ContentType="application/vnd.openxmlformats-officedocument.oleObject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3"/>
  </p:notesMasterIdLst>
  <p:sldIdLst>
    <p:sldId id="300" r:id="rId2"/>
    <p:sldId id="302" r:id="rId3"/>
    <p:sldId id="303" r:id="rId4"/>
    <p:sldId id="307" r:id="rId5"/>
    <p:sldId id="308" r:id="rId6"/>
    <p:sldId id="309" r:id="rId7"/>
    <p:sldId id="310" r:id="rId8"/>
    <p:sldId id="311" r:id="rId9"/>
    <p:sldId id="339" r:id="rId10"/>
    <p:sldId id="312" r:id="rId11"/>
    <p:sldId id="314" r:id="rId12"/>
    <p:sldId id="332" r:id="rId13"/>
    <p:sldId id="328" r:id="rId14"/>
    <p:sldId id="316" r:id="rId15"/>
    <p:sldId id="341" r:id="rId16"/>
    <p:sldId id="317" r:id="rId17"/>
    <p:sldId id="318" r:id="rId18"/>
    <p:sldId id="319" r:id="rId19"/>
    <p:sldId id="329" r:id="rId20"/>
    <p:sldId id="321" r:id="rId21"/>
    <p:sldId id="342" r:id="rId22"/>
    <p:sldId id="322" r:id="rId23"/>
    <p:sldId id="323" r:id="rId24"/>
    <p:sldId id="324" r:id="rId25"/>
    <p:sldId id="343" r:id="rId26"/>
    <p:sldId id="344" r:id="rId27"/>
    <p:sldId id="345" r:id="rId28"/>
    <p:sldId id="330" r:id="rId29"/>
    <p:sldId id="325" r:id="rId30"/>
    <p:sldId id="326" r:id="rId31"/>
    <p:sldId id="327" r:id="rId32"/>
  </p:sldIdLst>
  <p:sldSz cx="12192000" cy="6858000"/>
  <p:notesSz cx="6858000" cy="9144000"/>
  <p:custDataLst>
    <p:tags r:id="rId3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 xmlns:mv="urn:schemas-microsoft-com:mac:vml" xmlns:mc="http://schemas.openxmlformats.org/markup-compatibility/2006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ristina Williams" initials="KW" lastIdx="12" clrIdx="0">
    <p:extLst/>
  </p:cmAuthor>
  <p:cmAuthor id="2" name="Vijaya" initials="V" lastIdx="7" clrIdx="1">
    <p:extLst/>
  </p:cmAuthor>
  <p:cmAuthor id="3" name="Susan Grant" initials="SG" lastIdx="43" clrIdx="2">
    <p:extLst/>
  </p:cmAuthor>
  <p:cmAuthor id="4" name="Help Desk" initials="HD" lastIdx="1" clrIdx="3"/>
  <p:cmAuthor id="5" name="Swati" initials="S" lastIdx="11" clrIdx="4">
    <p:extLst/>
  </p:cmAuthor>
  <p:cmAuthor id="6" name="Jim Gallisdorfer" initials="JG" lastIdx="3" clrIdx="5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3044"/>
    <a:srgbClr val="E6E6E6"/>
    <a:srgbClr val="F2F2F2"/>
    <a:srgbClr val="CBCBCB"/>
    <a:srgbClr val="E9EBF5"/>
    <a:srgbClr val="ED1B2E"/>
    <a:srgbClr val="222A35"/>
    <a:srgbClr val="E7E7E7"/>
    <a:srgbClr val="F7F7F7"/>
    <a:srgbClr val="E4E4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xmlns:mv="urn:schemas-microsoft-com:mac:vml" xmlns:mc="http://schemas.openxmlformats.org/markup-compatibility/2006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964" autoAdjust="0"/>
    <p:restoredTop sz="99640" autoAdjust="0"/>
  </p:normalViewPr>
  <p:slideViewPr>
    <p:cSldViewPr snapToGrid="0">
      <p:cViewPr varScale="1">
        <p:scale>
          <a:sx n="128" d="100"/>
          <a:sy n="128" d="100"/>
        </p:scale>
        <p:origin x="-120" y="-48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notesMaster" Target="notesMasters/notesMaster1.xml"/><Relationship Id="rId34" Type="http://schemas.openxmlformats.org/officeDocument/2006/relationships/printerSettings" Target="printerSettings/printerSettings1.bin"/><Relationship Id="rId35" Type="http://schemas.openxmlformats.org/officeDocument/2006/relationships/tags" Target="tags/tag1.xml"/><Relationship Id="rId36" Type="http://schemas.openxmlformats.org/officeDocument/2006/relationships/commentAuthors" Target="commentAuthor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presProps" Target="presProps.xml"/><Relationship Id="rId38" Type="http://schemas.openxmlformats.org/officeDocument/2006/relationships/viewProps" Target="viewProps.xml"/><Relationship Id="rId39" Type="http://schemas.openxmlformats.org/officeDocument/2006/relationships/theme" Target="theme/theme1.xml"/><Relationship Id="rId4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27F8C3-DF71-4F55-B392-EC2A6526589A}" type="datetimeFigureOut">
              <a:rPr lang="en-US" smtClean="0"/>
              <a:pPr/>
              <a:t>8/17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8D8B32-96AD-4207-B4C9-D3679098227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602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6753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brief slides for Activity 6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7284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88837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6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38623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6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98735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085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6A Part 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66995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</a:t>
            </a:r>
            <a:r>
              <a:rPr lang="en-US" baseline="0" dirty="0"/>
              <a:t> 6A Part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952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6A part 2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6059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</a:t>
            </a:r>
            <a:r>
              <a:rPr lang="en-US" baseline="0" dirty="0"/>
              <a:t> 6B, part 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93222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6A part 2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2278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6C,</a:t>
            </a:r>
            <a:r>
              <a:rPr lang="en-US" baseline="0" dirty="0"/>
              <a:t> Part 2 –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0854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ctivity 6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08546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brief</a:t>
            </a:r>
            <a:r>
              <a:rPr lang="en-US" baseline="0" dirty="0"/>
              <a:t> slides for activity 6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48D8B32-96AD-4207-B4C9-D36790982278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3250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9BBAE6-D86B-4DB9-8DC8-9E3FF0491987}" type="datetimeFigureOut">
              <a:rPr lang="en-US" smtClean="0"/>
              <a:pPr/>
              <a:t>8/17/18</a:t>
            </a:fld>
            <a:endParaRPr lang="en-US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1</a:t>
            </a:r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7546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9BBAE6-D86B-4DB9-8DC8-9E3FF0491987}" type="datetimeFigureOut">
              <a:rPr lang="en-US" smtClean="0"/>
              <a:pPr/>
              <a:t>8/1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1</a:t>
            </a:r>
          </a:p>
        </p:txBody>
      </p:sp>
      <p:sp>
        <p:nvSpPr>
          <p:cNvPr id="8" name="Rectangle 8"/>
          <p:cNvSpPr/>
          <p:nvPr userDrawn="1"/>
        </p:nvSpPr>
        <p:spPr>
          <a:xfrm>
            <a:off x="-12145" y="1260593"/>
            <a:ext cx="8574597" cy="45719"/>
          </a:xfrm>
          <a:custGeom>
            <a:avLst/>
            <a:gdLst>
              <a:gd name="connsiteX0" fmla="*/ 0 w 5170811"/>
              <a:gd name="connsiteY0" fmla="*/ 0 h 45719"/>
              <a:gd name="connsiteX1" fmla="*/ 5170811 w 5170811"/>
              <a:gd name="connsiteY1" fmla="*/ 0 h 45719"/>
              <a:gd name="connsiteX2" fmla="*/ 5170811 w 5170811"/>
              <a:gd name="connsiteY2" fmla="*/ 45719 h 45719"/>
              <a:gd name="connsiteX3" fmla="*/ 0 w 5170811"/>
              <a:gd name="connsiteY3" fmla="*/ 45719 h 45719"/>
              <a:gd name="connsiteX4" fmla="*/ 0 w 5170811"/>
              <a:gd name="connsiteY4" fmla="*/ 0 h 45719"/>
              <a:gd name="connsiteX0" fmla="*/ 0 w 5170811"/>
              <a:gd name="connsiteY0" fmla="*/ 0 h 45719"/>
              <a:gd name="connsiteX1" fmla="*/ 5170811 w 5170811"/>
              <a:gd name="connsiteY1" fmla="*/ 0 h 45719"/>
              <a:gd name="connsiteX2" fmla="*/ 5148326 w 5170811"/>
              <a:gd name="connsiteY2" fmla="*/ 40722 h 45719"/>
              <a:gd name="connsiteX3" fmla="*/ 0 w 5170811"/>
              <a:gd name="connsiteY3" fmla="*/ 45719 h 45719"/>
              <a:gd name="connsiteX4" fmla="*/ 0 w 5170811"/>
              <a:gd name="connsiteY4" fmla="*/ 0 h 4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170811" h="45719">
                <a:moveTo>
                  <a:pt x="0" y="0"/>
                </a:moveTo>
                <a:lnTo>
                  <a:pt x="5170811" y="0"/>
                </a:lnTo>
                <a:lnTo>
                  <a:pt x="5148326" y="40722"/>
                </a:lnTo>
                <a:lnTo>
                  <a:pt x="0" y="45719"/>
                </a:lnTo>
                <a:lnTo>
                  <a:pt x="0" y="0"/>
                </a:lnTo>
                <a:close/>
              </a:path>
            </a:pathLst>
          </a:custGeom>
          <a:solidFill>
            <a:srgbClr val="ED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1"/>
          <p:cNvSpPr/>
          <p:nvPr userDrawn="1"/>
        </p:nvSpPr>
        <p:spPr>
          <a:xfrm flipH="1">
            <a:off x="-8891" y="296268"/>
            <a:ext cx="9410065" cy="986631"/>
          </a:xfrm>
          <a:custGeom>
            <a:avLst/>
            <a:gdLst>
              <a:gd name="connsiteX0" fmla="*/ 0 w 9163574"/>
              <a:gd name="connsiteY0" fmla="*/ 0 h 1249960"/>
              <a:gd name="connsiteX1" fmla="*/ 9163574 w 9163574"/>
              <a:gd name="connsiteY1" fmla="*/ 0 h 1249960"/>
              <a:gd name="connsiteX2" fmla="*/ 9163574 w 9163574"/>
              <a:gd name="connsiteY2" fmla="*/ 1249960 h 1249960"/>
              <a:gd name="connsiteX3" fmla="*/ 0 w 9163574"/>
              <a:gd name="connsiteY3" fmla="*/ 1249960 h 1249960"/>
              <a:gd name="connsiteX4" fmla="*/ 0 w 9163574"/>
              <a:gd name="connsiteY4" fmla="*/ 0 h 1249960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882428 w 10046002"/>
              <a:gd name="connsiteY3" fmla="*/ 1278735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1000725 w 10046002"/>
              <a:gd name="connsiteY3" fmla="*/ 1253157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904809 w 10046002"/>
              <a:gd name="connsiteY3" fmla="*/ 1272340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36411 w 10046002"/>
              <a:gd name="connsiteY1" fmla="*/ 3198 h 1278735"/>
              <a:gd name="connsiteX2" fmla="*/ 10046002 w 10046002"/>
              <a:gd name="connsiteY2" fmla="*/ 1278735 h 1278735"/>
              <a:gd name="connsiteX3" fmla="*/ 904809 w 10046002"/>
              <a:gd name="connsiteY3" fmla="*/ 1272340 h 1278735"/>
              <a:gd name="connsiteX4" fmla="*/ 0 w 10046002"/>
              <a:gd name="connsiteY4" fmla="*/ 0 h 1278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6002" h="1278735">
                <a:moveTo>
                  <a:pt x="0" y="0"/>
                </a:moveTo>
                <a:lnTo>
                  <a:pt x="10036411" y="3198"/>
                </a:lnTo>
                <a:lnTo>
                  <a:pt x="10046002" y="1278735"/>
                </a:lnTo>
                <a:lnTo>
                  <a:pt x="904809" y="1272340"/>
                </a:lnTo>
                <a:lnTo>
                  <a:pt x="0" y="0"/>
                </a:lnTo>
                <a:close/>
              </a:path>
            </a:pathLst>
          </a:custGeom>
          <a:solidFill>
            <a:srgbClr val="1130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-12145" y="9724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 – subtitle white line2</a:t>
            </a:r>
          </a:p>
        </p:txBody>
      </p:sp>
    </p:spTree>
    <p:extLst>
      <p:ext uri="{BB962C8B-B14F-4D97-AF65-F5344CB8AC3E}">
        <p14:creationId xmlns:p14="http://schemas.microsoft.com/office/powerpoint/2010/main" val="35010575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vmlDrawing" Target="../drawings/vmlDrawing1.vml"/><Relationship Id="rId5" Type="http://schemas.openxmlformats.org/officeDocument/2006/relationships/tags" Target="../tags/tag2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1.emf"/><Relationship Id="rId8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9" name="think-cell Slide" r:id="rId6" imgW="6350000" imgH="6350000" progId="">
                  <p:embed/>
                </p:oleObj>
              </mc:Choice>
              <mc:Fallback>
                <p:oleObj name="think-cell Slide" r:id="rId6" imgW="6350000" imgH="6350000" progId="">
                  <p:embed/>
                  <p:pic>
                    <p:nvPicPr>
                      <p:cNvPr id="0" name="Picture 6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9BBAE6-D86B-4DB9-8DC8-9E3FF0491987}" type="datetimeFigureOut">
              <a:rPr lang="en-US" smtClean="0"/>
              <a:pPr/>
              <a:t>8/1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/>
              <a:t>1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216"/>
          <a:stretch/>
        </p:blipFill>
        <p:spPr>
          <a:xfrm>
            <a:off x="10705741" y="57028"/>
            <a:ext cx="1477558" cy="640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1758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2800" b="1" kern="1200" dirty="0">
          <a:solidFill>
            <a:schemeClr val="tx2">
              <a:lumMod val="60000"/>
              <a:lumOff val="4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3.png"/><Relationship Id="rId7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4" Type="http://schemas.openxmlformats.org/officeDocument/2006/relationships/image" Target="../media/image6.emf"/><Relationship Id="rId5" Type="http://schemas.openxmlformats.org/officeDocument/2006/relationships/image" Target="../media/image8.emf"/><Relationship Id="rId6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3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4" Type="http://schemas.openxmlformats.org/officeDocument/2006/relationships/image" Target="../media/image16.emf"/><Relationship Id="rId5" Type="http://schemas.openxmlformats.org/officeDocument/2006/relationships/image" Target="../media/image17.emf"/><Relationship Id="rId6" Type="http://schemas.openxmlformats.org/officeDocument/2006/relationships/image" Target="../media/image18.emf"/><Relationship Id="rId7" Type="http://schemas.openxmlformats.org/officeDocument/2006/relationships/image" Target="../media/image19.emf"/><Relationship Id="rId8" Type="http://schemas.openxmlformats.org/officeDocument/2006/relationships/image" Target="../media/image20.emf"/><Relationship Id="rId9" Type="http://schemas.openxmlformats.org/officeDocument/2006/relationships/image" Target="../media/image21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4" Type="http://schemas.openxmlformats.org/officeDocument/2006/relationships/image" Target="../media/image6.emf"/><Relationship Id="rId5" Type="http://schemas.openxmlformats.org/officeDocument/2006/relationships/image" Target="../media/image8.emf"/><Relationship Id="rId6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7" Type="http://schemas.openxmlformats.org/officeDocument/2006/relationships/image" Target="../media/image5.emf"/><Relationship Id="rId8" Type="http://schemas.openxmlformats.org/officeDocument/2006/relationships/image" Target="../media/image6.emf"/><Relationship Id="rId9" Type="http://schemas.openxmlformats.org/officeDocument/2006/relationships/image" Target="../media/image7.emf"/><Relationship Id="rId10" Type="http://schemas.openxmlformats.org/officeDocument/2006/relationships/image" Target="../media/image8.emf"/><Relationship Id="rId11" Type="http://schemas.openxmlformats.org/officeDocument/2006/relationships/image" Target="../media/image9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4" Type="http://schemas.openxmlformats.org/officeDocument/2006/relationships/image" Target="../media/image23.png"/><Relationship Id="rId5" Type="http://schemas.microsoft.com/office/2007/relationships/hdphoto" Target="../media/hdphoto2.wdp"/><Relationship Id="rId6" Type="http://schemas.openxmlformats.org/officeDocument/2006/relationships/image" Target="../media/image24.png"/><Relationship Id="rId7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4" Type="http://schemas.microsoft.com/office/2007/relationships/hdphoto" Target="NULL"/><Relationship Id="rId1" Type="http://schemas.openxmlformats.org/officeDocument/2006/relationships/slideLayout" Target="../slideLayouts/slideLayout2.xml"/><Relationship Id="rId2" Type="http://schemas.openxmlformats.org/officeDocument/2006/relationships/hyperlink" Target="http://www.timer-tab.com/" TargetMode="Externa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4" Type="http://schemas.openxmlformats.org/officeDocument/2006/relationships/image" Target="../media/image6.emf"/><Relationship Id="rId5" Type="http://schemas.openxmlformats.org/officeDocument/2006/relationships/image" Target="../media/image28.emf"/><Relationship Id="rId6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.emf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emf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4" Type="http://schemas.openxmlformats.org/officeDocument/2006/relationships/image" Target="../media/image6.emf"/><Relationship Id="rId5" Type="http://schemas.openxmlformats.org/officeDocument/2006/relationships/image" Target="../media/image8.emf"/><Relationship Id="rId6" Type="http://schemas.openxmlformats.org/officeDocument/2006/relationships/image" Target="../media/image9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emf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5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33" t="75556" r="-1"/>
          <a:stretch/>
        </p:blipFill>
        <p:spPr>
          <a:xfrm>
            <a:off x="-1" y="5181600"/>
            <a:ext cx="12192001" cy="1676400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3483602" y="5297980"/>
            <a:ext cx="80204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XAS CASA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LUNTEER </a:t>
            </a:r>
            <a:r>
              <a:rPr lang="en-US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INING SESSION 6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Parallelogram 10"/>
          <p:cNvSpPr/>
          <p:nvPr/>
        </p:nvSpPr>
        <p:spPr>
          <a:xfrm>
            <a:off x="1257300" y="-19050"/>
            <a:ext cx="3048000" cy="5200649"/>
          </a:xfrm>
          <a:prstGeom prst="parallelogram">
            <a:avLst>
              <a:gd name="adj" fmla="val 72940"/>
            </a:avLst>
          </a:prstGeom>
          <a:solidFill>
            <a:srgbClr val="D223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/>
          <p:cNvSpPr/>
          <p:nvPr/>
        </p:nvSpPr>
        <p:spPr>
          <a:xfrm>
            <a:off x="9879419" y="0"/>
            <a:ext cx="2256118" cy="138952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iStock-823914176_super.jp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4986" y="279265"/>
            <a:ext cx="6914003" cy="4614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8218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Impact of Domestic Violenc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1073792" y="1423328"/>
            <a:ext cx="9873842" cy="4538933"/>
          </a:xfrm>
        </p:spPr>
        <p:txBody>
          <a:bodyPr/>
          <a:lstStyle/>
          <a:p>
            <a:pPr marL="0" lvl="1">
              <a:spcAft>
                <a:spcPts val="1200"/>
              </a:spcAft>
              <a:buClr>
                <a:srgbClr val="FF0000"/>
              </a:buClr>
            </a:pPr>
            <a: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  <a:t>Recapping</a:t>
            </a:r>
            <a:r>
              <a:rPr lang="en-US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 “Lisa’s </a:t>
            </a:r>
            <a: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  <a:t>911 </a:t>
            </a:r>
            <a:r>
              <a:rPr lang="en-US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Call”:</a:t>
            </a:r>
            <a:endParaRPr lang="en-US"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  <a:t>What were your impressions of Lisa?</a:t>
            </a:r>
          </a:p>
          <a:p>
            <a:pPr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3000" dirty="0">
                <a:latin typeface="Arial" panose="020B0604020202020204" pitchFamily="34" charset="0"/>
                <a:cs typeface="Arial" panose="020B0604020202020204" pitchFamily="34" charset="0"/>
              </a:rPr>
              <a:t>What were your impressions of </a:t>
            </a:r>
            <a:r>
              <a:rPr lang="en-US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her mother?</a:t>
            </a:r>
            <a:endParaRPr lang="en-US"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What were your impressions of her step-father? </a:t>
            </a:r>
            <a:endParaRPr lang="en-US" sz="3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90618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Violenc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927100" y="2412114"/>
            <a:ext cx="11012938" cy="2887983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a CASA/GAL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nteer, you should: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 knowledgeabl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cerned about domestic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olence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ke into account the history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verity of family violence when making placement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ations. 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e the best interest of th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ek resources for children from violent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s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 help for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s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244728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pter 6:</a:t>
            </a:r>
            <a:br>
              <a:rPr lang="en-US" dirty="0"/>
            </a:br>
            <a:r>
              <a:rPr lang="en-US" b="0" dirty="0">
                <a:solidFill>
                  <a:schemeClr val="bg1"/>
                </a:solidFill>
              </a:rPr>
              <a:t>Challenges</a:t>
            </a:r>
          </a:p>
        </p:txBody>
      </p:sp>
      <p:sp>
        <p:nvSpPr>
          <p:cNvPr id="19" name="Freeform 78"/>
          <p:cNvSpPr>
            <a:spLocks noEditPoints="1"/>
          </p:cNvSpPr>
          <p:nvPr/>
        </p:nvSpPr>
        <p:spPr bwMode="auto">
          <a:xfrm rot="14808680">
            <a:off x="3469698" y="3650240"/>
            <a:ext cx="823516" cy="738377"/>
          </a:xfrm>
          <a:custGeom>
            <a:avLst/>
            <a:gdLst>
              <a:gd name="T0" fmla="*/ 172 w 241"/>
              <a:gd name="T1" fmla="*/ 0 h 234"/>
              <a:gd name="T2" fmla="*/ 102 w 241"/>
              <a:gd name="T3" fmla="*/ 50 h 234"/>
              <a:gd name="T4" fmla="*/ 102 w 241"/>
              <a:gd name="T5" fmla="*/ 50 h 234"/>
              <a:gd name="T6" fmla="*/ 26 w 241"/>
              <a:gd name="T7" fmla="*/ 126 h 234"/>
              <a:gd name="T8" fmla="*/ 2 w 241"/>
              <a:gd name="T9" fmla="*/ 201 h 234"/>
              <a:gd name="T10" fmla="*/ 26 w 241"/>
              <a:gd name="T11" fmla="*/ 234 h 234"/>
              <a:gd name="T12" fmla="*/ 96 w 241"/>
              <a:gd name="T13" fmla="*/ 216 h 234"/>
              <a:gd name="T14" fmla="*/ 220 w 241"/>
              <a:gd name="T15" fmla="*/ 97 h 234"/>
              <a:gd name="T16" fmla="*/ 117 w 241"/>
              <a:gd name="T17" fmla="*/ 174 h 234"/>
              <a:gd name="T18" fmla="*/ 181 w 241"/>
              <a:gd name="T19" fmla="*/ 86 h 234"/>
              <a:gd name="T20" fmla="*/ 174 w 241"/>
              <a:gd name="T21" fmla="*/ 123 h 234"/>
              <a:gd name="T22" fmla="*/ 117 w 241"/>
              <a:gd name="T23" fmla="*/ 180 h 234"/>
              <a:gd name="T24" fmla="*/ 108 w 241"/>
              <a:gd name="T25" fmla="*/ 148 h 234"/>
              <a:gd name="T26" fmla="*/ 84 w 241"/>
              <a:gd name="T27" fmla="*/ 125 h 234"/>
              <a:gd name="T28" fmla="*/ 169 w 241"/>
              <a:gd name="T29" fmla="*/ 66 h 234"/>
              <a:gd name="T30" fmla="*/ 108 w 241"/>
              <a:gd name="T31" fmla="*/ 148 h 234"/>
              <a:gd name="T32" fmla="*/ 56 w 241"/>
              <a:gd name="T33" fmla="*/ 117 h 234"/>
              <a:gd name="T34" fmla="*/ 146 w 241"/>
              <a:gd name="T35" fmla="*/ 53 h 234"/>
              <a:gd name="T36" fmla="*/ 31 w 241"/>
              <a:gd name="T37" fmla="*/ 219 h 234"/>
              <a:gd name="T38" fmla="*/ 15 w 241"/>
              <a:gd name="T39" fmla="*/ 209 h 234"/>
              <a:gd name="T40" fmla="*/ 23 w 241"/>
              <a:gd name="T41" fmla="*/ 177 h 234"/>
              <a:gd name="T42" fmla="*/ 58 w 241"/>
              <a:gd name="T43" fmla="*/ 211 h 234"/>
              <a:gd name="T44" fmla="*/ 65 w 241"/>
              <a:gd name="T45" fmla="*/ 210 h 234"/>
              <a:gd name="T46" fmla="*/ 26 w 241"/>
              <a:gd name="T47" fmla="*/ 169 h 234"/>
              <a:gd name="T48" fmla="*/ 36 w 241"/>
              <a:gd name="T49" fmla="*/ 138 h 234"/>
              <a:gd name="T50" fmla="*/ 95 w 241"/>
              <a:gd name="T51" fmla="*/ 201 h 234"/>
              <a:gd name="T52" fmla="*/ 65 w 241"/>
              <a:gd name="T53" fmla="*/ 210 h 234"/>
              <a:gd name="T54" fmla="*/ 198 w 241"/>
              <a:gd name="T55" fmla="*/ 99 h 234"/>
              <a:gd name="T56" fmla="*/ 179 w 241"/>
              <a:gd name="T57" fmla="*/ 55 h 234"/>
              <a:gd name="T58" fmla="*/ 148 w 241"/>
              <a:gd name="T59" fmla="*/ 24 h 234"/>
              <a:gd name="T60" fmla="*/ 205 w 241"/>
              <a:gd name="T61" fmla="*/ 30 h 234"/>
              <a:gd name="T62" fmla="*/ 210 w 241"/>
              <a:gd name="T63" fmla="*/ 86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1" h="234">
                <a:moveTo>
                  <a:pt x="215" y="19"/>
                </a:moveTo>
                <a:cubicBezTo>
                  <a:pt x="203" y="7"/>
                  <a:pt x="187" y="0"/>
                  <a:pt x="172" y="0"/>
                </a:cubicBezTo>
                <a:cubicBezTo>
                  <a:pt x="159" y="0"/>
                  <a:pt x="146" y="5"/>
                  <a:pt x="138" y="14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26" y="126"/>
                  <a:pt x="26" y="126"/>
                  <a:pt x="26" y="126"/>
                </a:cubicBezTo>
                <a:cubicBezTo>
                  <a:pt x="23" y="130"/>
                  <a:pt x="20" y="134"/>
                  <a:pt x="19" y="139"/>
                </a:cubicBezTo>
                <a:cubicBezTo>
                  <a:pt x="2" y="201"/>
                  <a:pt x="2" y="201"/>
                  <a:pt x="2" y="201"/>
                </a:cubicBezTo>
                <a:cubicBezTo>
                  <a:pt x="2" y="201"/>
                  <a:pt x="0" y="206"/>
                  <a:pt x="0" y="209"/>
                </a:cubicBezTo>
                <a:cubicBezTo>
                  <a:pt x="0" y="223"/>
                  <a:pt x="12" y="234"/>
                  <a:pt x="26" y="234"/>
                </a:cubicBezTo>
                <a:cubicBezTo>
                  <a:pt x="29" y="234"/>
                  <a:pt x="34" y="233"/>
                  <a:pt x="34" y="233"/>
                </a:cubicBezTo>
                <a:cubicBezTo>
                  <a:pt x="96" y="216"/>
                  <a:pt x="96" y="216"/>
                  <a:pt x="96" y="216"/>
                </a:cubicBezTo>
                <a:cubicBezTo>
                  <a:pt x="101" y="215"/>
                  <a:pt x="105" y="213"/>
                  <a:pt x="109" y="209"/>
                </a:cubicBezTo>
                <a:cubicBezTo>
                  <a:pt x="220" y="97"/>
                  <a:pt x="220" y="97"/>
                  <a:pt x="220" y="97"/>
                </a:cubicBezTo>
                <a:cubicBezTo>
                  <a:pt x="241" y="76"/>
                  <a:pt x="238" y="42"/>
                  <a:pt x="215" y="19"/>
                </a:cubicBezTo>
                <a:close/>
                <a:moveTo>
                  <a:pt x="117" y="174"/>
                </a:moveTo>
                <a:cubicBezTo>
                  <a:pt x="117" y="168"/>
                  <a:pt x="115" y="161"/>
                  <a:pt x="112" y="155"/>
                </a:cubicBezTo>
                <a:cubicBezTo>
                  <a:pt x="181" y="86"/>
                  <a:pt x="181" y="86"/>
                  <a:pt x="181" y="86"/>
                </a:cubicBezTo>
                <a:cubicBezTo>
                  <a:pt x="185" y="99"/>
                  <a:pt x="183" y="113"/>
                  <a:pt x="174" y="123"/>
                </a:cubicBezTo>
                <a:cubicBezTo>
                  <a:pt x="174" y="123"/>
                  <a:pt x="174" y="123"/>
                  <a:pt x="174" y="123"/>
                </a:cubicBezTo>
                <a:cubicBezTo>
                  <a:pt x="174" y="123"/>
                  <a:pt x="174" y="123"/>
                  <a:pt x="174" y="123"/>
                </a:cubicBezTo>
                <a:cubicBezTo>
                  <a:pt x="117" y="180"/>
                  <a:pt x="117" y="180"/>
                  <a:pt x="117" y="180"/>
                </a:cubicBezTo>
                <a:cubicBezTo>
                  <a:pt x="117" y="178"/>
                  <a:pt x="118" y="176"/>
                  <a:pt x="117" y="174"/>
                </a:cubicBezTo>
                <a:close/>
                <a:moveTo>
                  <a:pt x="108" y="148"/>
                </a:moveTo>
                <a:cubicBezTo>
                  <a:pt x="106" y="144"/>
                  <a:pt x="103" y="140"/>
                  <a:pt x="99" y="136"/>
                </a:cubicBezTo>
                <a:cubicBezTo>
                  <a:pt x="94" y="131"/>
                  <a:pt x="89" y="128"/>
                  <a:pt x="84" y="125"/>
                </a:cubicBezTo>
                <a:cubicBezTo>
                  <a:pt x="154" y="55"/>
                  <a:pt x="154" y="55"/>
                  <a:pt x="154" y="55"/>
                </a:cubicBezTo>
                <a:cubicBezTo>
                  <a:pt x="159" y="58"/>
                  <a:pt x="164" y="61"/>
                  <a:pt x="169" y="66"/>
                </a:cubicBezTo>
                <a:cubicBezTo>
                  <a:pt x="173" y="70"/>
                  <a:pt x="176" y="74"/>
                  <a:pt x="178" y="79"/>
                </a:cubicBezTo>
                <a:lnTo>
                  <a:pt x="108" y="148"/>
                </a:lnTo>
                <a:close/>
                <a:moveTo>
                  <a:pt x="77" y="121"/>
                </a:moveTo>
                <a:cubicBezTo>
                  <a:pt x="70" y="119"/>
                  <a:pt x="63" y="117"/>
                  <a:pt x="56" y="117"/>
                </a:cubicBezTo>
                <a:cubicBezTo>
                  <a:pt x="112" y="60"/>
                  <a:pt x="112" y="60"/>
                  <a:pt x="112" y="60"/>
                </a:cubicBezTo>
                <a:cubicBezTo>
                  <a:pt x="121" y="52"/>
                  <a:pt x="133" y="50"/>
                  <a:pt x="146" y="53"/>
                </a:cubicBezTo>
                <a:lnTo>
                  <a:pt x="77" y="121"/>
                </a:lnTo>
                <a:close/>
                <a:moveTo>
                  <a:pt x="31" y="219"/>
                </a:moveTo>
                <a:cubicBezTo>
                  <a:pt x="30" y="219"/>
                  <a:pt x="28" y="219"/>
                  <a:pt x="26" y="220"/>
                </a:cubicBezTo>
                <a:cubicBezTo>
                  <a:pt x="20" y="219"/>
                  <a:pt x="15" y="215"/>
                  <a:pt x="15" y="209"/>
                </a:cubicBezTo>
                <a:cubicBezTo>
                  <a:pt x="15" y="207"/>
                  <a:pt x="16" y="205"/>
                  <a:pt x="16" y="204"/>
                </a:cubicBezTo>
                <a:cubicBezTo>
                  <a:pt x="23" y="177"/>
                  <a:pt x="23" y="177"/>
                  <a:pt x="23" y="177"/>
                </a:cubicBezTo>
                <a:cubicBezTo>
                  <a:pt x="32" y="176"/>
                  <a:pt x="41" y="180"/>
                  <a:pt x="48" y="187"/>
                </a:cubicBezTo>
                <a:cubicBezTo>
                  <a:pt x="55" y="194"/>
                  <a:pt x="58" y="203"/>
                  <a:pt x="58" y="211"/>
                </a:cubicBezTo>
                <a:lnTo>
                  <a:pt x="31" y="219"/>
                </a:lnTo>
                <a:close/>
                <a:moveTo>
                  <a:pt x="65" y="210"/>
                </a:moveTo>
                <a:cubicBezTo>
                  <a:pt x="65" y="200"/>
                  <a:pt x="61" y="190"/>
                  <a:pt x="53" y="182"/>
                </a:cubicBezTo>
                <a:cubicBezTo>
                  <a:pt x="45" y="174"/>
                  <a:pt x="35" y="170"/>
                  <a:pt x="26" y="169"/>
                </a:cubicBezTo>
                <a:cubicBezTo>
                  <a:pt x="33" y="143"/>
                  <a:pt x="33" y="143"/>
                  <a:pt x="33" y="143"/>
                </a:cubicBezTo>
                <a:cubicBezTo>
                  <a:pt x="33" y="141"/>
                  <a:pt x="34" y="139"/>
                  <a:pt x="36" y="138"/>
                </a:cubicBezTo>
                <a:cubicBezTo>
                  <a:pt x="50" y="127"/>
                  <a:pt x="73" y="130"/>
                  <a:pt x="88" y="146"/>
                </a:cubicBezTo>
                <a:cubicBezTo>
                  <a:pt x="105" y="163"/>
                  <a:pt x="108" y="187"/>
                  <a:pt x="95" y="201"/>
                </a:cubicBezTo>
                <a:cubicBezTo>
                  <a:pt x="94" y="202"/>
                  <a:pt x="93" y="202"/>
                  <a:pt x="92" y="202"/>
                </a:cubicBezTo>
                <a:lnTo>
                  <a:pt x="65" y="210"/>
                </a:lnTo>
                <a:close/>
                <a:moveTo>
                  <a:pt x="210" y="86"/>
                </a:moveTo>
                <a:cubicBezTo>
                  <a:pt x="198" y="99"/>
                  <a:pt x="198" y="99"/>
                  <a:pt x="198" y="99"/>
                </a:cubicBezTo>
                <a:cubicBezTo>
                  <a:pt x="198" y="97"/>
                  <a:pt x="198" y="96"/>
                  <a:pt x="198" y="94"/>
                </a:cubicBezTo>
                <a:cubicBezTo>
                  <a:pt x="196" y="80"/>
                  <a:pt x="190" y="66"/>
                  <a:pt x="179" y="55"/>
                </a:cubicBezTo>
                <a:cubicBezTo>
                  <a:pt x="167" y="44"/>
                  <a:pt x="151" y="37"/>
                  <a:pt x="136" y="37"/>
                </a:cubicBezTo>
                <a:cubicBezTo>
                  <a:pt x="148" y="24"/>
                  <a:pt x="148" y="24"/>
                  <a:pt x="148" y="24"/>
                </a:cubicBezTo>
                <a:cubicBezTo>
                  <a:pt x="154" y="18"/>
                  <a:pt x="162" y="15"/>
                  <a:pt x="172" y="15"/>
                </a:cubicBezTo>
                <a:cubicBezTo>
                  <a:pt x="183" y="15"/>
                  <a:pt x="196" y="20"/>
                  <a:pt x="205" y="30"/>
                </a:cubicBezTo>
                <a:cubicBezTo>
                  <a:pt x="214" y="38"/>
                  <a:pt x="219" y="49"/>
                  <a:pt x="219" y="60"/>
                </a:cubicBezTo>
                <a:cubicBezTo>
                  <a:pt x="220" y="70"/>
                  <a:pt x="217" y="80"/>
                  <a:pt x="210" y="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0" name="Group 19"/>
          <p:cNvGrpSpPr/>
          <p:nvPr/>
        </p:nvGrpSpPr>
        <p:grpSpPr>
          <a:xfrm>
            <a:off x="3512267" y="3607671"/>
            <a:ext cx="1263780" cy="823516"/>
            <a:chOff x="2171982" y="4409337"/>
            <a:chExt cx="1263780" cy="823516"/>
          </a:xfrm>
        </p:grpSpPr>
        <p:sp>
          <p:nvSpPr>
            <p:cNvPr id="21" name="Freeform 78"/>
            <p:cNvSpPr>
              <a:spLocks noEditPoints="1"/>
            </p:cNvSpPr>
            <p:nvPr/>
          </p:nvSpPr>
          <p:spPr bwMode="auto">
            <a:xfrm rot="14808680">
              <a:off x="2129413" y="4451906"/>
              <a:ext cx="823516" cy="738377"/>
            </a:xfrm>
            <a:custGeom>
              <a:avLst/>
              <a:gdLst>
                <a:gd name="T0" fmla="*/ 172 w 241"/>
                <a:gd name="T1" fmla="*/ 0 h 234"/>
                <a:gd name="T2" fmla="*/ 102 w 241"/>
                <a:gd name="T3" fmla="*/ 50 h 234"/>
                <a:gd name="T4" fmla="*/ 102 w 241"/>
                <a:gd name="T5" fmla="*/ 50 h 234"/>
                <a:gd name="T6" fmla="*/ 26 w 241"/>
                <a:gd name="T7" fmla="*/ 126 h 234"/>
                <a:gd name="T8" fmla="*/ 2 w 241"/>
                <a:gd name="T9" fmla="*/ 201 h 234"/>
                <a:gd name="T10" fmla="*/ 26 w 241"/>
                <a:gd name="T11" fmla="*/ 234 h 234"/>
                <a:gd name="T12" fmla="*/ 96 w 241"/>
                <a:gd name="T13" fmla="*/ 216 h 234"/>
                <a:gd name="T14" fmla="*/ 220 w 241"/>
                <a:gd name="T15" fmla="*/ 97 h 234"/>
                <a:gd name="T16" fmla="*/ 117 w 241"/>
                <a:gd name="T17" fmla="*/ 174 h 234"/>
                <a:gd name="T18" fmla="*/ 181 w 241"/>
                <a:gd name="T19" fmla="*/ 86 h 234"/>
                <a:gd name="T20" fmla="*/ 174 w 241"/>
                <a:gd name="T21" fmla="*/ 123 h 234"/>
                <a:gd name="T22" fmla="*/ 117 w 241"/>
                <a:gd name="T23" fmla="*/ 180 h 234"/>
                <a:gd name="T24" fmla="*/ 108 w 241"/>
                <a:gd name="T25" fmla="*/ 148 h 234"/>
                <a:gd name="T26" fmla="*/ 84 w 241"/>
                <a:gd name="T27" fmla="*/ 125 h 234"/>
                <a:gd name="T28" fmla="*/ 169 w 241"/>
                <a:gd name="T29" fmla="*/ 66 h 234"/>
                <a:gd name="T30" fmla="*/ 108 w 241"/>
                <a:gd name="T31" fmla="*/ 148 h 234"/>
                <a:gd name="T32" fmla="*/ 56 w 241"/>
                <a:gd name="T33" fmla="*/ 117 h 234"/>
                <a:gd name="T34" fmla="*/ 146 w 241"/>
                <a:gd name="T35" fmla="*/ 53 h 234"/>
                <a:gd name="T36" fmla="*/ 31 w 241"/>
                <a:gd name="T37" fmla="*/ 219 h 234"/>
                <a:gd name="T38" fmla="*/ 15 w 241"/>
                <a:gd name="T39" fmla="*/ 209 h 234"/>
                <a:gd name="T40" fmla="*/ 23 w 241"/>
                <a:gd name="T41" fmla="*/ 177 h 234"/>
                <a:gd name="T42" fmla="*/ 58 w 241"/>
                <a:gd name="T43" fmla="*/ 211 h 234"/>
                <a:gd name="T44" fmla="*/ 65 w 241"/>
                <a:gd name="T45" fmla="*/ 210 h 234"/>
                <a:gd name="T46" fmla="*/ 26 w 241"/>
                <a:gd name="T47" fmla="*/ 169 h 234"/>
                <a:gd name="T48" fmla="*/ 36 w 241"/>
                <a:gd name="T49" fmla="*/ 138 h 234"/>
                <a:gd name="T50" fmla="*/ 95 w 241"/>
                <a:gd name="T51" fmla="*/ 201 h 234"/>
                <a:gd name="T52" fmla="*/ 65 w 241"/>
                <a:gd name="T53" fmla="*/ 210 h 234"/>
                <a:gd name="T54" fmla="*/ 198 w 241"/>
                <a:gd name="T55" fmla="*/ 99 h 234"/>
                <a:gd name="T56" fmla="*/ 179 w 241"/>
                <a:gd name="T57" fmla="*/ 55 h 234"/>
                <a:gd name="T58" fmla="*/ 148 w 241"/>
                <a:gd name="T59" fmla="*/ 24 h 234"/>
                <a:gd name="T60" fmla="*/ 205 w 241"/>
                <a:gd name="T61" fmla="*/ 30 h 234"/>
                <a:gd name="T62" fmla="*/ 210 w 241"/>
                <a:gd name="T63" fmla="*/ 8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34">
                  <a:moveTo>
                    <a:pt x="215" y="19"/>
                  </a:moveTo>
                  <a:cubicBezTo>
                    <a:pt x="203" y="7"/>
                    <a:pt x="187" y="0"/>
                    <a:pt x="172" y="0"/>
                  </a:cubicBezTo>
                  <a:cubicBezTo>
                    <a:pt x="159" y="0"/>
                    <a:pt x="146" y="5"/>
                    <a:pt x="138" y="14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26" y="126"/>
                    <a:pt x="26" y="126"/>
                    <a:pt x="26" y="126"/>
                  </a:cubicBezTo>
                  <a:cubicBezTo>
                    <a:pt x="23" y="130"/>
                    <a:pt x="20" y="134"/>
                    <a:pt x="19" y="139"/>
                  </a:cubicBezTo>
                  <a:cubicBezTo>
                    <a:pt x="2" y="201"/>
                    <a:pt x="2" y="201"/>
                    <a:pt x="2" y="201"/>
                  </a:cubicBezTo>
                  <a:cubicBezTo>
                    <a:pt x="2" y="201"/>
                    <a:pt x="0" y="206"/>
                    <a:pt x="0" y="209"/>
                  </a:cubicBezTo>
                  <a:cubicBezTo>
                    <a:pt x="0" y="223"/>
                    <a:pt x="12" y="234"/>
                    <a:pt x="26" y="234"/>
                  </a:cubicBezTo>
                  <a:cubicBezTo>
                    <a:pt x="29" y="234"/>
                    <a:pt x="34" y="233"/>
                    <a:pt x="34" y="233"/>
                  </a:cubicBezTo>
                  <a:cubicBezTo>
                    <a:pt x="96" y="216"/>
                    <a:pt x="96" y="216"/>
                    <a:pt x="96" y="216"/>
                  </a:cubicBezTo>
                  <a:cubicBezTo>
                    <a:pt x="101" y="215"/>
                    <a:pt x="105" y="213"/>
                    <a:pt x="109" y="209"/>
                  </a:cubicBezTo>
                  <a:cubicBezTo>
                    <a:pt x="220" y="97"/>
                    <a:pt x="220" y="97"/>
                    <a:pt x="220" y="97"/>
                  </a:cubicBezTo>
                  <a:cubicBezTo>
                    <a:pt x="241" y="76"/>
                    <a:pt x="238" y="42"/>
                    <a:pt x="215" y="19"/>
                  </a:cubicBezTo>
                  <a:close/>
                  <a:moveTo>
                    <a:pt x="117" y="174"/>
                  </a:moveTo>
                  <a:cubicBezTo>
                    <a:pt x="117" y="168"/>
                    <a:pt x="115" y="161"/>
                    <a:pt x="112" y="15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5" y="99"/>
                    <a:pt x="183" y="11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17" y="180"/>
                    <a:pt x="117" y="180"/>
                    <a:pt x="117" y="180"/>
                  </a:cubicBezTo>
                  <a:cubicBezTo>
                    <a:pt x="117" y="178"/>
                    <a:pt x="118" y="176"/>
                    <a:pt x="117" y="174"/>
                  </a:cubicBezTo>
                  <a:close/>
                  <a:moveTo>
                    <a:pt x="108" y="148"/>
                  </a:moveTo>
                  <a:cubicBezTo>
                    <a:pt x="106" y="144"/>
                    <a:pt x="103" y="140"/>
                    <a:pt x="99" y="136"/>
                  </a:cubicBezTo>
                  <a:cubicBezTo>
                    <a:pt x="94" y="131"/>
                    <a:pt x="89" y="128"/>
                    <a:pt x="84" y="12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9" y="58"/>
                    <a:pt x="164" y="61"/>
                    <a:pt x="169" y="66"/>
                  </a:cubicBezTo>
                  <a:cubicBezTo>
                    <a:pt x="173" y="70"/>
                    <a:pt x="176" y="74"/>
                    <a:pt x="178" y="79"/>
                  </a:cubicBezTo>
                  <a:lnTo>
                    <a:pt x="108" y="148"/>
                  </a:lnTo>
                  <a:close/>
                  <a:moveTo>
                    <a:pt x="77" y="121"/>
                  </a:moveTo>
                  <a:cubicBezTo>
                    <a:pt x="70" y="119"/>
                    <a:pt x="63" y="117"/>
                    <a:pt x="56" y="117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21" y="52"/>
                    <a:pt x="133" y="50"/>
                    <a:pt x="146" y="53"/>
                  </a:cubicBezTo>
                  <a:lnTo>
                    <a:pt x="77" y="121"/>
                  </a:lnTo>
                  <a:close/>
                  <a:moveTo>
                    <a:pt x="31" y="219"/>
                  </a:moveTo>
                  <a:cubicBezTo>
                    <a:pt x="30" y="219"/>
                    <a:pt x="28" y="219"/>
                    <a:pt x="26" y="220"/>
                  </a:cubicBezTo>
                  <a:cubicBezTo>
                    <a:pt x="20" y="219"/>
                    <a:pt x="15" y="215"/>
                    <a:pt x="15" y="209"/>
                  </a:cubicBezTo>
                  <a:cubicBezTo>
                    <a:pt x="15" y="207"/>
                    <a:pt x="16" y="205"/>
                    <a:pt x="16" y="204"/>
                  </a:cubicBezTo>
                  <a:cubicBezTo>
                    <a:pt x="23" y="177"/>
                    <a:pt x="23" y="177"/>
                    <a:pt x="23" y="177"/>
                  </a:cubicBezTo>
                  <a:cubicBezTo>
                    <a:pt x="32" y="176"/>
                    <a:pt x="41" y="180"/>
                    <a:pt x="48" y="187"/>
                  </a:cubicBezTo>
                  <a:cubicBezTo>
                    <a:pt x="55" y="194"/>
                    <a:pt x="58" y="203"/>
                    <a:pt x="58" y="211"/>
                  </a:cubicBezTo>
                  <a:lnTo>
                    <a:pt x="31" y="219"/>
                  </a:lnTo>
                  <a:close/>
                  <a:moveTo>
                    <a:pt x="65" y="210"/>
                  </a:moveTo>
                  <a:cubicBezTo>
                    <a:pt x="65" y="200"/>
                    <a:pt x="61" y="190"/>
                    <a:pt x="53" y="182"/>
                  </a:cubicBezTo>
                  <a:cubicBezTo>
                    <a:pt x="45" y="174"/>
                    <a:pt x="35" y="170"/>
                    <a:pt x="26" y="169"/>
                  </a:cubicBezTo>
                  <a:cubicBezTo>
                    <a:pt x="33" y="143"/>
                    <a:pt x="33" y="143"/>
                    <a:pt x="33" y="143"/>
                  </a:cubicBezTo>
                  <a:cubicBezTo>
                    <a:pt x="33" y="141"/>
                    <a:pt x="34" y="139"/>
                    <a:pt x="36" y="138"/>
                  </a:cubicBezTo>
                  <a:cubicBezTo>
                    <a:pt x="50" y="127"/>
                    <a:pt x="73" y="130"/>
                    <a:pt x="88" y="146"/>
                  </a:cubicBezTo>
                  <a:cubicBezTo>
                    <a:pt x="105" y="163"/>
                    <a:pt x="108" y="187"/>
                    <a:pt x="95" y="201"/>
                  </a:cubicBezTo>
                  <a:cubicBezTo>
                    <a:pt x="94" y="202"/>
                    <a:pt x="93" y="202"/>
                    <a:pt x="92" y="202"/>
                  </a:cubicBezTo>
                  <a:lnTo>
                    <a:pt x="65" y="210"/>
                  </a:lnTo>
                  <a:close/>
                  <a:moveTo>
                    <a:pt x="210" y="86"/>
                  </a:moveTo>
                  <a:cubicBezTo>
                    <a:pt x="198" y="99"/>
                    <a:pt x="198" y="99"/>
                    <a:pt x="198" y="99"/>
                  </a:cubicBezTo>
                  <a:cubicBezTo>
                    <a:pt x="198" y="97"/>
                    <a:pt x="198" y="96"/>
                    <a:pt x="198" y="94"/>
                  </a:cubicBezTo>
                  <a:cubicBezTo>
                    <a:pt x="196" y="80"/>
                    <a:pt x="190" y="66"/>
                    <a:pt x="179" y="55"/>
                  </a:cubicBezTo>
                  <a:cubicBezTo>
                    <a:pt x="167" y="44"/>
                    <a:pt x="151" y="37"/>
                    <a:pt x="136" y="37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54" y="18"/>
                    <a:pt x="162" y="15"/>
                    <a:pt x="172" y="15"/>
                  </a:cubicBezTo>
                  <a:cubicBezTo>
                    <a:pt x="183" y="15"/>
                    <a:pt x="196" y="20"/>
                    <a:pt x="205" y="30"/>
                  </a:cubicBezTo>
                  <a:cubicBezTo>
                    <a:pt x="214" y="38"/>
                    <a:pt x="219" y="49"/>
                    <a:pt x="219" y="60"/>
                  </a:cubicBezTo>
                  <a:cubicBezTo>
                    <a:pt x="220" y="70"/>
                    <a:pt x="217" y="80"/>
                    <a:pt x="210" y="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956144" y="4835046"/>
              <a:ext cx="4796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F50000"/>
                  </a:solidFill>
                  <a:latin typeface="Arial" pitchFamily="34" charset="0"/>
                  <a:cs typeface="Arial" pitchFamily="34" charset="0"/>
                </a:rPr>
                <a:t>1B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519820" y="3530071"/>
            <a:ext cx="9672180" cy="986631"/>
            <a:chOff x="2519820" y="3530071"/>
            <a:chExt cx="9672180" cy="986631"/>
          </a:xfrm>
        </p:grpSpPr>
        <p:sp>
          <p:nvSpPr>
            <p:cNvPr id="24" name="Rectangle 1"/>
            <p:cNvSpPr/>
            <p:nvPr/>
          </p:nvSpPr>
          <p:spPr>
            <a:xfrm rot="10800000" flipH="1">
              <a:off x="2519820" y="3530071"/>
              <a:ext cx="9672180" cy="986631"/>
            </a:xfrm>
            <a:custGeom>
              <a:avLst/>
              <a:gdLst>
                <a:gd name="connsiteX0" fmla="*/ 0 w 9163574"/>
                <a:gd name="connsiteY0" fmla="*/ 0 h 1249960"/>
                <a:gd name="connsiteX1" fmla="*/ 9163574 w 9163574"/>
                <a:gd name="connsiteY1" fmla="*/ 0 h 1249960"/>
                <a:gd name="connsiteX2" fmla="*/ 9163574 w 9163574"/>
                <a:gd name="connsiteY2" fmla="*/ 1249960 h 1249960"/>
                <a:gd name="connsiteX3" fmla="*/ 0 w 9163574"/>
                <a:gd name="connsiteY3" fmla="*/ 1249960 h 1249960"/>
                <a:gd name="connsiteX4" fmla="*/ 0 w 9163574"/>
                <a:gd name="connsiteY4" fmla="*/ 0 h 1249960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882428 w 10046002"/>
                <a:gd name="connsiteY3" fmla="*/ 1278735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1000725 w 10046002"/>
                <a:gd name="connsiteY3" fmla="*/ 1253157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36411 w 10046002"/>
                <a:gd name="connsiteY1" fmla="*/ 3198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46002" h="1278735">
                  <a:moveTo>
                    <a:pt x="0" y="0"/>
                  </a:moveTo>
                  <a:lnTo>
                    <a:pt x="10036411" y="3198"/>
                  </a:lnTo>
                  <a:lnTo>
                    <a:pt x="10046002" y="1278735"/>
                  </a:lnTo>
                  <a:lnTo>
                    <a:pt x="904809" y="12723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344449" y="3582448"/>
              <a:ext cx="8847551" cy="914400"/>
            </a:xfrm>
            <a:prstGeom prst="rect">
              <a:avLst/>
            </a:prstGeom>
            <a:solidFill>
              <a:srgbClr val="F5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latin typeface="Arial" pitchFamily="34" charset="0"/>
                  <a:cs typeface="Arial" pitchFamily="34" charset="0"/>
                </a:rPr>
                <a:t>What Challenges You?</a:t>
              </a:r>
            </a:p>
          </p:txBody>
        </p:sp>
        <p:sp>
          <p:nvSpPr>
            <p:cNvPr id="26" name="Freeform 78"/>
            <p:cNvSpPr>
              <a:spLocks noEditPoints="1"/>
            </p:cNvSpPr>
            <p:nvPr/>
          </p:nvSpPr>
          <p:spPr bwMode="auto">
            <a:xfrm rot="14808680">
              <a:off x="3469698" y="3650240"/>
              <a:ext cx="823516" cy="738377"/>
            </a:xfrm>
            <a:custGeom>
              <a:avLst/>
              <a:gdLst>
                <a:gd name="T0" fmla="*/ 172 w 241"/>
                <a:gd name="T1" fmla="*/ 0 h 234"/>
                <a:gd name="T2" fmla="*/ 102 w 241"/>
                <a:gd name="T3" fmla="*/ 50 h 234"/>
                <a:gd name="T4" fmla="*/ 102 w 241"/>
                <a:gd name="T5" fmla="*/ 50 h 234"/>
                <a:gd name="T6" fmla="*/ 26 w 241"/>
                <a:gd name="T7" fmla="*/ 126 h 234"/>
                <a:gd name="T8" fmla="*/ 2 w 241"/>
                <a:gd name="T9" fmla="*/ 201 h 234"/>
                <a:gd name="T10" fmla="*/ 26 w 241"/>
                <a:gd name="T11" fmla="*/ 234 h 234"/>
                <a:gd name="T12" fmla="*/ 96 w 241"/>
                <a:gd name="T13" fmla="*/ 216 h 234"/>
                <a:gd name="T14" fmla="*/ 220 w 241"/>
                <a:gd name="T15" fmla="*/ 97 h 234"/>
                <a:gd name="T16" fmla="*/ 117 w 241"/>
                <a:gd name="T17" fmla="*/ 174 h 234"/>
                <a:gd name="T18" fmla="*/ 181 w 241"/>
                <a:gd name="T19" fmla="*/ 86 h 234"/>
                <a:gd name="T20" fmla="*/ 174 w 241"/>
                <a:gd name="T21" fmla="*/ 123 h 234"/>
                <a:gd name="T22" fmla="*/ 117 w 241"/>
                <a:gd name="T23" fmla="*/ 180 h 234"/>
                <a:gd name="T24" fmla="*/ 108 w 241"/>
                <a:gd name="T25" fmla="*/ 148 h 234"/>
                <a:gd name="T26" fmla="*/ 84 w 241"/>
                <a:gd name="T27" fmla="*/ 125 h 234"/>
                <a:gd name="T28" fmla="*/ 169 w 241"/>
                <a:gd name="T29" fmla="*/ 66 h 234"/>
                <a:gd name="T30" fmla="*/ 108 w 241"/>
                <a:gd name="T31" fmla="*/ 148 h 234"/>
                <a:gd name="T32" fmla="*/ 56 w 241"/>
                <a:gd name="T33" fmla="*/ 117 h 234"/>
                <a:gd name="T34" fmla="*/ 146 w 241"/>
                <a:gd name="T35" fmla="*/ 53 h 234"/>
                <a:gd name="T36" fmla="*/ 31 w 241"/>
                <a:gd name="T37" fmla="*/ 219 h 234"/>
                <a:gd name="T38" fmla="*/ 15 w 241"/>
                <a:gd name="T39" fmla="*/ 209 h 234"/>
                <a:gd name="T40" fmla="*/ 23 w 241"/>
                <a:gd name="T41" fmla="*/ 177 h 234"/>
                <a:gd name="T42" fmla="*/ 58 w 241"/>
                <a:gd name="T43" fmla="*/ 211 h 234"/>
                <a:gd name="T44" fmla="*/ 65 w 241"/>
                <a:gd name="T45" fmla="*/ 210 h 234"/>
                <a:gd name="T46" fmla="*/ 26 w 241"/>
                <a:gd name="T47" fmla="*/ 169 h 234"/>
                <a:gd name="T48" fmla="*/ 36 w 241"/>
                <a:gd name="T49" fmla="*/ 138 h 234"/>
                <a:gd name="T50" fmla="*/ 95 w 241"/>
                <a:gd name="T51" fmla="*/ 201 h 234"/>
                <a:gd name="T52" fmla="*/ 65 w 241"/>
                <a:gd name="T53" fmla="*/ 210 h 234"/>
                <a:gd name="T54" fmla="*/ 198 w 241"/>
                <a:gd name="T55" fmla="*/ 99 h 234"/>
                <a:gd name="T56" fmla="*/ 179 w 241"/>
                <a:gd name="T57" fmla="*/ 55 h 234"/>
                <a:gd name="T58" fmla="*/ 148 w 241"/>
                <a:gd name="T59" fmla="*/ 24 h 234"/>
                <a:gd name="T60" fmla="*/ 205 w 241"/>
                <a:gd name="T61" fmla="*/ 30 h 234"/>
                <a:gd name="T62" fmla="*/ 210 w 241"/>
                <a:gd name="T63" fmla="*/ 8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34">
                  <a:moveTo>
                    <a:pt x="215" y="19"/>
                  </a:moveTo>
                  <a:cubicBezTo>
                    <a:pt x="203" y="7"/>
                    <a:pt x="187" y="0"/>
                    <a:pt x="172" y="0"/>
                  </a:cubicBezTo>
                  <a:cubicBezTo>
                    <a:pt x="159" y="0"/>
                    <a:pt x="146" y="5"/>
                    <a:pt x="138" y="14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26" y="126"/>
                    <a:pt x="26" y="126"/>
                    <a:pt x="26" y="126"/>
                  </a:cubicBezTo>
                  <a:cubicBezTo>
                    <a:pt x="23" y="130"/>
                    <a:pt x="20" y="134"/>
                    <a:pt x="19" y="139"/>
                  </a:cubicBezTo>
                  <a:cubicBezTo>
                    <a:pt x="2" y="201"/>
                    <a:pt x="2" y="201"/>
                    <a:pt x="2" y="201"/>
                  </a:cubicBezTo>
                  <a:cubicBezTo>
                    <a:pt x="2" y="201"/>
                    <a:pt x="0" y="206"/>
                    <a:pt x="0" y="209"/>
                  </a:cubicBezTo>
                  <a:cubicBezTo>
                    <a:pt x="0" y="223"/>
                    <a:pt x="12" y="234"/>
                    <a:pt x="26" y="234"/>
                  </a:cubicBezTo>
                  <a:cubicBezTo>
                    <a:pt x="29" y="234"/>
                    <a:pt x="34" y="233"/>
                    <a:pt x="34" y="233"/>
                  </a:cubicBezTo>
                  <a:cubicBezTo>
                    <a:pt x="96" y="216"/>
                    <a:pt x="96" y="216"/>
                    <a:pt x="96" y="216"/>
                  </a:cubicBezTo>
                  <a:cubicBezTo>
                    <a:pt x="101" y="215"/>
                    <a:pt x="105" y="213"/>
                    <a:pt x="109" y="209"/>
                  </a:cubicBezTo>
                  <a:cubicBezTo>
                    <a:pt x="220" y="97"/>
                    <a:pt x="220" y="97"/>
                    <a:pt x="220" y="97"/>
                  </a:cubicBezTo>
                  <a:cubicBezTo>
                    <a:pt x="241" y="76"/>
                    <a:pt x="238" y="42"/>
                    <a:pt x="215" y="19"/>
                  </a:cubicBezTo>
                  <a:close/>
                  <a:moveTo>
                    <a:pt x="117" y="174"/>
                  </a:moveTo>
                  <a:cubicBezTo>
                    <a:pt x="117" y="168"/>
                    <a:pt x="115" y="161"/>
                    <a:pt x="112" y="15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5" y="99"/>
                    <a:pt x="183" y="11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17" y="180"/>
                    <a:pt x="117" y="180"/>
                    <a:pt x="117" y="180"/>
                  </a:cubicBezTo>
                  <a:cubicBezTo>
                    <a:pt x="117" y="178"/>
                    <a:pt x="118" y="176"/>
                    <a:pt x="117" y="174"/>
                  </a:cubicBezTo>
                  <a:close/>
                  <a:moveTo>
                    <a:pt x="108" y="148"/>
                  </a:moveTo>
                  <a:cubicBezTo>
                    <a:pt x="106" y="144"/>
                    <a:pt x="103" y="140"/>
                    <a:pt x="99" y="136"/>
                  </a:cubicBezTo>
                  <a:cubicBezTo>
                    <a:pt x="94" y="131"/>
                    <a:pt x="89" y="128"/>
                    <a:pt x="84" y="12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9" y="58"/>
                    <a:pt x="164" y="61"/>
                    <a:pt x="169" y="66"/>
                  </a:cubicBezTo>
                  <a:cubicBezTo>
                    <a:pt x="173" y="70"/>
                    <a:pt x="176" y="74"/>
                    <a:pt x="178" y="79"/>
                  </a:cubicBezTo>
                  <a:lnTo>
                    <a:pt x="108" y="148"/>
                  </a:lnTo>
                  <a:close/>
                  <a:moveTo>
                    <a:pt x="77" y="121"/>
                  </a:moveTo>
                  <a:cubicBezTo>
                    <a:pt x="70" y="119"/>
                    <a:pt x="63" y="117"/>
                    <a:pt x="56" y="117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21" y="52"/>
                    <a:pt x="133" y="50"/>
                    <a:pt x="146" y="53"/>
                  </a:cubicBezTo>
                  <a:lnTo>
                    <a:pt x="77" y="121"/>
                  </a:lnTo>
                  <a:close/>
                  <a:moveTo>
                    <a:pt x="31" y="219"/>
                  </a:moveTo>
                  <a:cubicBezTo>
                    <a:pt x="30" y="219"/>
                    <a:pt x="28" y="219"/>
                    <a:pt x="26" y="220"/>
                  </a:cubicBezTo>
                  <a:cubicBezTo>
                    <a:pt x="20" y="219"/>
                    <a:pt x="15" y="215"/>
                    <a:pt x="15" y="209"/>
                  </a:cubicBezTo>
                  <a:cubicBezTo>
                    <a:pt x="15" y="207"/>
                    <a:pt x="16" y="205"/>
                    <a:pt x="16" y="204"/>
                  </a:cubicBezTo>
                  <a:cubicBezTo>
                    <a:pt x="23" y="177"/>
                    <a:pt x="23" y="177"/>
                    <a:pt x="23" y="177"/>
                  </a:cubicBezTo>
                  <a:cubicBezTo>
                    <a:pt x="32" y="176"/>
                    <a:pt x="41" y="180"/>
                    <a:pt x="48" y="187"/>
                  </a:cubicBezTo>
                  <a:cubicBezTo>
                    <a:pt x="55" y="194"/>
                    <a:pt x="58" y="203"/>
                    <a:pt x="58" y="211"/>
                  </a:cubicBezTo>
                  <a:lnTo>
                    <a:pt x="31" y="219"/>
                  </a:lnTo>
                  <a:close/>
                  <a:moveTo>
                    <a:pt x="65" y="210"/>
                  </a:moveTo>
                  <a:cubicBezTo>
                    <a:pt x="65" y="200"/>
                    <a:pt x="61" y="190"/>
                    <a:pt x="53" y="182"/>
                  </a:cubicBezTo>
                  <a:cubicBezTo>
                    <a:pt x="45" y="174"/>
                    <a:pt x="35" y="170"/>
                    <a:pt x="26" y="169"/>
                  </a:cubicBezTo>
                  <a:cubicBezTo>
                    <a:pt x="33" y="143"/>
                    <a:pt x="33" y="143"/>
                    <a:pt x="33" y="143"/>
                  </a:cubicBezTo>
                  <a:cubicBezTo>
                    <a:pt x="33" y="141"/>
                    <a:pt x="34" y="139"/>
                    <a:pt x="36" y="138"/>
                  </a:cubicBezTo>
                  <a:cubicBezTo>
                    <a:pt x="50" y="127"/>
                    <a:pt x="73" y="130"/>
                    <a:pt x="88" y="146"/>
                  </a:cubicBezTo>
                  <a:cubicBezTo>
                    <a:pt x="105" y="163"/>
                    <a:pt x="108" y="187"/>
                    <a:pt x="95" y="201"/>
                  </a:cubicBezTo>
                  <a:cubicBezTo>
                    <a:pt x="94" y="202"/>
                    <a:pt x="93" y="202"/>
                    <a:pt x="92" y="202"/>
                  </a:cubicBezTo>
                  <a:lnTo>
                    <a:pt x="65" y="210"/>
                  </a:lnTo>
                  <a:close/>
                  <a:moveTo>
                    <a:pt x="210" y="86"/>
                  </a:moveTo>
                  <a:cubicBezTo>
                    <a:pt x="198" y="99"/>
                    <a:pt x="198" y="99"/>
                    <a:pt x="198" y="99"/>
                  </a:cubicBezTo>
                  <a:cubicBezTo>
                    <a:pt x="198" y="97"/>
                    <a:pt x="198" y="96"/>
                    <a:pt x="198" y="94"/>
                  </a:cubicBezTo>
                  <a:cubicBezTo>
                    <a:pt x="196" y="80"/>
                    <a:pt x="190" y="66"/>
                    <a:pt x="179" y="55"/>
                  </a:cubicBezTo>
                  <a:cubicBezTo>
                    <a:pt x="167" y="44"/>
                    <a:pt x="151" y="37"/>
                    <a:pt x="136" y="37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54" y="18"/>
                    <a:pt x="162" y="15"/>
                    <a:pt x="172" y="15"/>
                  </a:cubicBezTo>
                  <a:cubicBezTo>
                    <a:pt x="183" y="15"/>
                    <a:pt x="196" y="20"/>
                    <a:pt x="205" y="30"/>
                  </a:cubicBezTo>
                  <a:cubicBezTo>
                    <a:pt x="214" y="38"/>
                    <a:pt x="219" y="49"/>
                    <a:pt x="219" y="60"/>
                  </a:cubicBezTo>
                  <a:cubicBezTo>
                    <a:pt x="220" y="70"/>
                    <a:pt x="217" y="80"/>
                    <a:pt x="210" y="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9238882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20474" y="4136252"/>
            <a:ext cx="285293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Work Recap, Chapter Overview</a:t>
            </a:r>
            <a:r>
              <a:rPr lang="en-US" sz="2400" dirty="0" smtClean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ncies</a:t>
            </a:r>
          </a:p>
        </p:txBody>
      </p:sp>
      <p:sp>
        <p:nvSpPr>
          <p:cNvPr id="7" name="Rectangle 6"/>
          <p:cNvSpPr/>
          <p:nvPr/>
        </p:nvSpPr>
        <p:spPr>
          <a:xfrm>
            <a:off x="3137227" y="4116879"/>
            <a:ext cx="16722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 Violence</a:t>
            </a:r>
          </a:p>
        </p:txBody>
      </p:sp>
      <p:sp>
        <p:nvSpPr>
          <p:cNvPr id="8" name="Rectangle 7"/>
          <p:cNvSpPr/>
          <p:nvPr/>
        </p:nvSpPr>
        <p:spPr>
          <a:xfrm>
            <a:off x="4919818" y="4116879"/>
            <a:ext cx="24581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 Building: Cultural Competence</a:t>
            </a:r>
          </a:p>
        </p:txBody>
      </p:sp>
      <p:sp>
        <p:nvSpPr>
          <p:cNvPr id="9" name="Rectangle 8"/>
          <p:cNvSpPr/>
          <p:nvPr/>
        </p:nvSpPr>
        <p:spPr>
          <a:xfrm>
            <a:off x="7544156" y="4116879"/>
            <a:ext cx="14594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a Case</a:t>
            </a:r>
          </a:p>
        </p:txBody>
      </p:sp>
      <p:sp>
        <p:nvSpPr>
          <p:cNvPr id="10" name="Rectangle 9"/>
          <p:cNvSpPr/>
          <p:nvPr/>
        </p:nvSpPr>
        <p:spPr>
          <a:xfrm>
            <a:off x="9011149" y="4078779"/>
            <a:ext cx="299987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Wrap-Up: Review</a:t>
            </a:r>
            <a:r>
              <a:rPr lang="en-US" sz="2400" dirty="0" smtClean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 </a:t>
            </a:r>
          </a:p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7: Pre-Work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939431" y="2514061"/>
            <a:ext cx="809435" cy="812462"/>
          </a:xfrm>
          <a:prstGeom prst="rect">
            <a:avLst/>
          </a:prstGeom>
        </p:spPr>
      </p:pic>
      <p:sp>
        <p:nvSpPr>
          <p:cNvPr id="12" name="Freeform 5"/>
          <p:cNvSpPr>
            <a:spLocks/>
          </p:cNvSpPr>
          <p:nvPr/>
        </p:nvSpPr>
        <p:spPr bwMode="auto">
          <a:xfrm>
            <a:off x="9107488" y="2918466"/>
            <a:ext cx="2376488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2" y="358"/>
              </a:cxn>
              <a:cxn ang="0">
                <a:pos x="104" y="1"/>
              </a:cxn>
              <a:cxn ang="0">
                <a:pos x="104" y="0"/>
              </a:cxn>
              <a:cxn ang="0">
                <a:pos x="0" y="0"/>
              </a:cxn>
              <a:cxn ang="0">
                <a:pos x="0" y="1"/>
              </a:cxn>
              <a:cxn ang="0">
                <a:pos x="462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9" y="358"/>
                  <a:pt x="462" y="358"/>
                </a:cubicBezTo>
                <a:cubicBezTo>
                  <a:pt x="264" y="358"/>
                  <a:pt x="104" y="198"/>
                  <a:pt x="104" y="1"/>
                </a:cubicBezTo>
                <a:cubicBezTo>
                  <a:pt x="104" y="1"/>
                  <a:pt x="104" y="1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70008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1" y="104"/>
              </a:cxn>
              <a:cxn ang="0">
                <a:pos x="819" y="461"/>
              </a:cxn>
              <a:cxn ang="0">
                <a:pos x="819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819" y="461"/>
                  <a:pt x="819" y="461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1" y="0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7"/>
          <p:cNvSpPr>
            <a:spLocks/>
          </p:cNvSpPr>
          <p:nvPr/>
        </p:nvSpPr>
        <p:spPr bwMode="auto">
          <a:xfrm>
            <a:off x="4892675" y="2918466"/>
            <a:ext cx="2374900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1" y="359"/>
              </a:cxn>
              <a:cxn ang="0">
                <a:pos x="103" y="1"/>
              </a:cxn>
              <a:cxn ang="0">
                <a:pos x="103" y="0"/>
              </a:cxn>
              <a:cxn ang="0">
                <a:pos x="0" y="0"/>
              </a:cxn>
              <a:cxn ang="0">
                <a:pos x="0" y="1"/>
              </a:cxn>
              <a:cxn ang="0">
                <a:pos x="461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8" y="359"/>
                  <a:pt x="461" y="359"/>
                </a:cubicBezTo>
                <a:cubicBezTo>
                  <a:pt x="264" y="359"/>
                  <a:pt x="103" y="198"/>
                  <a:pt x="103" y="1"/>
                </a:cubicBezTo>
                <a:cubicBezTo>
                  <a:pt x="103" y="1"/>
                  <a:pt x="103" y="1"/>
                  <a:pt x="10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8"/>
          <p:cNvSpPr>
            <a:spLocks/>
          </p:cNvSpPr>
          <p:nvPr/>
        </p:nvSpPr>
        <p:spPr bwMode="auto">
          <a:xfrm>
            <a:off x="2782888" y="1729428"/>
            <a:ext cx="2374900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20" y="461"/>
              </a:cxn>
              <a:cxn ang="0">
                <a:pos x="820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5" y="104"/>
                  <a:pt x="462" y="104"/>
                </a:cubicBezTo>
                <a:cubicBezTo>
                  <a:pt x="659" y="104"/>
                  <a:pt x="820" y="264"/>
                  <a:pt x="820" y="461"/>
                </a:cubicBezTo>
                <a:cubicBezTo>
                  <a:pt x="820" y="461"/>
                  <a:pt x="820" y="461"/>
                  <a:pt x="820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676275" y="1729428"/>
            <a:ext cx="2374900" cy="2381251"/>
            <a:chOff x="676275" y="2281238"/>
            <a:chExt cx="2374900" cy="2381251"/>
          </a:xfrm>
        </p:grpSpPr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676275" y="3470276"/>
              <a:ext cx="2374900" cy="1192213"/>
            </a:xfrm>
            <a:custGeom>
              <a:avLst/>
              <a:gdLst/>
              <a:ahLst/>
              <a:cxnLst>
                <a:cxn ang="0">
                  <a:pos x="819" y="1"/>
                </a:cxn>
                <a:cxn ang="0">
                  <a:pos x="462" y="359"/>
                </a:cxn>
                <a:cxn ang="0">
                  <a:pos x="104" y="1"/>
                </a:cxn>
                <a:cxn ang="0">
                  <a:pos x="104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462" y="462"/>
                </a:cxn>
                <a:cxn ang="0">
                  <a:pos x="923" y="1"/>
                </a:cxn>
                <a:cxn ang="0">
                  <a:pos x="923" y="0"/>
                </a:cxn>
                <a:cxn ang="0">
                  <a:pos x="819" y="0"/>
                </a:cxn>
                <a:cxn ang="0">
                  <a:pos x="819" y="1"/>
                </a:cxn>
              </a:cxnLst>
              <a:rect l="0" t="0" r="r" b="b"/>
              <a:pathLst>
                <a:path w="923" h="462">
                  <a:moveTo>
                    <a:pt x="819" y="1"/>
                  </a:moveTo>
                  <a:cubicBezTo>
                    <a:pt x="819" y="198"/>
                    <a:pt x="659" y="359"/>
                    <a:pt x="462" y="359"/>
                  </a:cubicBezTo>
                  <a:cubicBezTo>
                    <a:pt x="264" y="359"/>
                    <a:pt x="104" y="198"/>
                    <a:pt x="104" y="1"/>
                  </a:cubicBezTo>
                  <a:cubicBezTo>
                    <a:pt x="104" y="1"/>
                    <a:pt x="104" y="1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55"/>
                    <a:pt x="207" y="462"/>
                    <a:pt x="462" y="462"/>
                  </a:cubicBezTo>
                  <a:cubicBezTo>
                    <a:pt x="716" y="462"/>
                    <a:pt x="923" y="255"/>
                    <a:pt x="923" y="1"/>
                  </a:cubicBezTo>
                  <a:cubicBezTo>
                    <a:pt x="923" y="1"/>
                    <a:pt x="923" y="1"/>
                    <a:pt x="923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1"/>
                    <a:pt x="819" y="1"/>
                    <a:pt x="819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676275" y="2281238"/>
              <a:ext cx="2374900" cy="1189038"/>
            </a:xfrm>
            <a:custGeom>
              <a:avLst/>
              <a:gdLst/>
              <a:ahLst/>
              <a:cxnLst>
                <a:cxn ang="0">
                  <a:pos x="462" y="0"/>
                </a:cxn>
                <a:cxn ang="0">
                  <a:pos x="0" y="461"/>
                </a:cxn>
                <a:cxn ang="0">
                  <a:pos x="104" y="461"/>
                </a:cxn>
                <a:cxn ang="0">
                  <a:pos x="462" y="104"/>
                </a:cxn>
                <a:cxn ang="0">
                  <a:pos x="819" y="461"/>
                </a:cxn>
                <a:cxn ang="0">
                  <a:pos x="923" y="461"/>
                </a:cxn>
                <a:cxn ang="0">
                  <a:pos x="462" y="0"/>
                </a:cxn>
              </a:cxnLst>
              <a:rect l="0" t="0" r="r" b="b"/>
              <a:pathLst>
                <a:path w="923" h="461">
                  <a:moveTo>
                    <a:pt x="462" y="0"/>
                  </a:moveTo>
                  <a:cubicBezTo>
                    <a:pt x="207" y="0"/>
                    <a:pt x="0" y="207"/>
                    <a:pt x="0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264"/>
                    <a:pt x="264" y="104"/>
                    <a:pt x="462" y="104"/>
                  </a:cubicBezTo>
                  <a:cubicBezTo>
                    <a:pt x="659" y="104"/>
                    <a:pt x="819" y="264"/>
                    <a:pt x="819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207"/>
                    <a:pt x="716" y="0"/>
                    <a:pt x="46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11"/>
          <p:cNvSpPr>
            <a:spLocks/>
          </p:cNvSpPr>
          <p:nvPr/>
        </p:nvSpPr>
        <p:spPr bwMode="auto">
          <a:xfrm>
            <a:off x="9107488" y="1729428"/>
            <a:ext cx="2376488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2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rgbClr val="192F4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2"/>
          <p:cNvSpPr>
            <a:spLocks/>
          </p:cNvSpPr>
          <p:nvPr/>
        </p:nvSpPr>
        <p:spPr bwMode="auto">
          <a:xfrm>
            <a:off x="7000875" y="2918466"/>
            <a:ext cx="2374900" cy="1192213"/>
          </a:xfrm>
          <a:custGeom>
            <a:avLst/>
            <a:gdLst/>
            <a:ahLst/>
            <a:cxnLst>
              <a:cxn ang="0">
                <a:pos x="461" y="358"/>
              </a:cxn>
              <a:cxn ang="0">
                <a:pos x="104" y="0"/>
              </a:cxn>
              <a:cxn ang="0">
                <a:pos x="0" y="0"/>
              </a:cxn>
              <a:cxn ang="0">
                <a:pos x="461" y="462"/>
              </a:cxn>
              <a:cxn ang="0">
                <a:pos x="923" y="0"/>
              </a:cxn>
              <a:cxn ang="0">
                <a:pos x="819" y="0"/>
              </a:cxn>
              <a:cxn ang="0">
                <a:pos x="461" y="358"/>
              </a:cxn>
            </a:cxnLst>
            <a:rect l="0" t="0" r="r" b="b"/>
            <a:pathLst>
              <a:path w="923" h="462">
                <a:moveTo>
                  <a:pt x="461" y="358"/>
                </a:moveTo>
                <a:cubicBezTo>
                  <a:pt x="264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98"/>
                  <a:pt x="658" y="358"/>
                  <a:pt x="461" y="358"/>
                </a:cubicBezTo>
                <a:close/>
              </a:path>
            </a:pathLst>
          </a:custGeom>
          <a:solidFill>
            <a:srgbClr val="F5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3"/>
          <p:cNvSpPr>
            <a:spLocks/>
          </p:cNvSpPr>
          <p:nvPr/>
        </p:nvSpPr>
        <p:spPr bwMode="auto">
          <a:xfrm>
            <a:off x="48926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103" y="461"/>
              </a:cxn>
              <a:cxn ang="0">
                <a:pos x="461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3" y="461"/>
                  <a:pt x="103" y="461"/>
                  <a:pt x="103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8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2" y="207"/>
                  <a:pt x="715" y="0"/>
                  <a:pt x="461" y="0"/>
                </a:cubicBezTo>
                <a:close/>
              </a:path>
            </a:pathLst>
          </a:custGeom>
          <a:solidFill>
            <a:srgbClr val="192F4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4"/>
          <p:cNvSpPr>
            <a:spLocks/>
          </p:cNvSpPr>
          <p:nvPr/>
        </p:nvSpPr>
        <p:spPr bwMode="auto">
          <a:xfrm>
            <a:off x="2782888" y="2918466"/>
            <a:ext cx="2374900" cy="1192213"/>
          </a:xfrm>
          <a:custGeom>
            <a:avLst/>
            <a:gdLst/>
            <a:ahLst/>
            <a:cxnLst>
              <a:cxn ang="0">
                <a:pos x="462" y="358"/>
              </a:cxn>
              <a:cxn ang="0">
                <a:pos x="104" y="0"/>
              </a:cxn>
              <a:cxn ang="0">
                <a:pos x="0" y="0"/>
              </a:cxn>
              <a:cxn ang="0">
                <a:pos x="462" y="462"/>
              </a:cxn>
              <a:cxn ang="0">
                <a:pos x="923" y="0"/>
              </a:cxn>
              <a:cxn ang="0">
                <a:pos x="820" y="0"/>
              </a:cxn>
              <a:cxn ang="0">
                <a:pos x="462" y="358"/>
              </a:cxn>
            </a:cxnLst>
            <a:rect l="0" t="0" r="r" b="b"/>
            <a:pathLst>
              <a:path w="923" h="462">
                <a:moveTo>
                  <a:pt x="462" y="358"/>
                </a:moveTo>
                <a:cubicBezTo>
                  <a:pt x="265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20" y="0"/>
                  <a:pt x="820" y="0"/>
                  <a:pt x="820" y="0"/>
                </a:cubicBezTo>
                <a:cubicBezTo>
                  <a:pt x="819" y="198"/>
                  <a:pt x="659" y="358"/>
                  <a:pt x="462" y="3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05730" y="2442118"/>
            <a:ext cx="715541" cy="98772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21000"/>
          </a:blip>
          <a:stretch>
            <a:fillRect/>
          </a:stretch>
        </p:blipFill>
        <p:spPr>
          <a:xfrm>
            <a:off x="1480305" y="2519873"/>
            <a:ext cx="716366" cy="902706"/>
          </a:xfrm>
          <a:prstGeom prst="rect">
            <a:avLst/>
          </a:prstGeom>
        </p:spPr>
      </p:pic>
      <p:sp>
        <p:nvSpPr>
          <p:cNvPr id="27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Violence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b="0" dirty="0" smtClean="0">
                <a:solidFill>
                  <a:schemeClr val="bg1">
                    <a:lumMod val="95000"/>
                  </a:schemeClr>
                </a:solidFill>
              </a:rPr>
              <a:t>and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Cultural Competence</a:t>
            </a:r>
            <a:endParaRPr lang="en-US" b="0" dirty="0"/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8635" y="2490521"/>
            <a:ext cx="822979" cy="73354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lum bright="70000" contrast="-70000"/>
            <a:alphaModFix amt="10000"/>
          </a:blip>
          <a:stretch>
            <a:fillRect/>
          </a:stretch>
        </p:blipFill>
        <p:spPr>
          <a:xfrm>
            <a:off x="3453665" y="2331532"/>
            <a:ext cx="1012502" cy="1097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37352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Culture and Perceptions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3225800" y="1738638"/>
            <a:ext cx="8487980" cy="4538933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a CASA/GAL volunteer:</a:t>
            </a:r>
          </a:p>
          <a:p>
            <a:pPr marL="822937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 the discomfort that families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ten feel disclosing specific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 information such as race, family form,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hnicity, gender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ty, geographic identity, age, sexual orientation, religion or spirituality, language, disabilities, socioeconomic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us and immigration status. 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 to build rapport and help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ies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eel comfortable sharing important information. 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6" name="Picture 5" descr="Globe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600" y="2286000"/>
            <a:ext cx="2528675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0844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pter 6:</a:t>
            </a:r>
            <a:br>
              <a:rPr lang="en-US" dirty="0"/>
            </a:br>
            <a:r>
              <a:rPr lang="en-US" b="0" dirty="0">
                <a:solidFill>
                  <a:schemeClr val="bg1"/>
                </a:solidFill>
              </a:rPr>
              <a:t>Skill Building: Cultural Competence</a:t>
            </a:r>
          </a:p>
        </p:txBody>
      </p:sp>
      <p:sp>
        <p:nvSpPr>
          <p:cNvPr id="19" name="Freeform 78"/>
          <p:cNvSpPr>
            <a:spLocks noEditPoints="1"/>
          </p:cNvSpPr>
          <p:nvPr/>
        </p:nvSpPr>
        <p:spPr bwMode="auto">
          <a:xfrm rot="14808680">
            <a:off x="3469698" y="3650240"/>
            <a:ext cx="823516" cy="738377"/>
          </a:xfrm>
          <a:custGeom>
            <a:avLst/>
            <a:gdLst>
              <a:gd name="T0" fmla="*/ 172 w 241"/>
              <a:gd name="T1" fmla="*/ 0 h 234"/>
              <a:gd name="T2" fmla="*/ 102 w 241"/>
              <a:gd name="T3" fmla="*/ 50 h 234"/>
              <a:gd name="T4" fmla="*/ 102 w 241"/>
              <a:gd name="T5" fmla="*/ 50 h 234"/>
              <a:gd name="T6" fmla="*/ 26 w 241"/>
              <a:gd name="T7" fmla="*/ 126 h 234"/>
              <a:gd name="T8" fmla="*/ 2 w 241"/>
              <a:gd name="T9" fmla="*/ 201 h 234"/>
              <a:gd name="T10" fmla="*/ 26 w 241"/>
              <a:gd name="T11" fmla="*/ 234 h 234"/>
              <a:gd name="T12" fmla="*/ 96 w 241"/>
              <a:gd name="T13" fmla="*/ 216 h 234"/>
              <a:gd name="T14" fmla="*/ 220 w 241"/>
              <a:gd name="T15" fmla="*/ 97 h 234"/>
              <a:gd name="T16" fmla="*/ 117 w 241"/>
              <a:gd name="T17" fmla="*/ 174 h 234"/>
              <a:gd name="T18" fmla="*/ 181 w 241"/>
              <a:gd name="T19" fmla="*/ 86 h 234"/>
              <a:gd name="T20" fmla="*/ 174 w 241"/>
              <a:gd name="T21" fmla="*/ 123 h 234"/>
              <a:gd name="T22" fmla="*/ 117 w 241"/>
              <a:gd name="T23" fmla="*/ 180 h 234"/>
              <a:gd name="T24" fmla="*/ 108 w 241"/>
              <a:gd name="T25" fmla="*/ 148 h 234"/>
              <a:gd name="T26" fmla="*/ 84 w 241"/>
              <a:gd name="T27" fmla="*/ 125 h 234"/>
              <a:gd name="T28" fmla="*/ 169 w 241"/>
              <a:gd name="T29" fmla="*/ 66 h 234"/>
              <a:gd name="T30" fmla="*/ 108 w 241"/>
              <a:gd name="T31" fmla="*/ 148 h 234"/>
              <a:gd name="T32" fmla="*/ 56 w 241"/>
              <a:gd name="T33" fmla="*/ 117 h 234"/>
              <a:gd name="T34" fmla="*/ 146 w 241"/>
              <a:gd name="T35" fmla="*/ 53 h 234"/>
              <a:gd name="T36" fmla="*/ 31 w 241"/>
              <a:gd name="T37" fmla="*/ 219 h 234"/>
              <a:gd name="T38" fmla="*/ 15 w 241"/>
              <a:gd name="T39" fmla="*/ 209 h 234"/>
              <a:gd name="T40" fmla="*/ 23 w 241"/>
              <a:gd name="T41" fmla="*/ 177 h 234"/>
              <a:gd name="T42" fmla="*/ 58 w 241"/>
              <a:gd name="T43" fmla="*/ 211 h 234"/>
              <a:gd name="T44" fmla="*/ 65 w 241"/>
              <a:gd name="T45" fmla="*/ 210 h 234"/>
              <a:gd name="T46" fmla="*/ 26 w 241"/>
              <a:gd name="T47" fmla="*/ 169 h 234"/>
              <a:gd name="T48" fmla="*/ 36 w 241"/>
              <a:gd name="T49" fmla="*/ 138 h 234"/>
              <a:gd name="T50" fmla="*/ 95 w 241"/>
              <a:gd name="T51" fmla="*/ 201 h 234"/>
              <a:gd name="T52" fmla="*/ 65 w 241"/>
              <a:gd name="T53" fmla="*/ 210 h 234"/>
              <a:gd name="T54" fmla="*/ 198 w 241"/>
              <a:gd name="T55" fmla="*/ 99 h 234"/>
              <a:gd name="T56" fmla="*/ 179 w 241"/>
              <a:gd name="T57" fmla="*/ 55 h 234"/>
              <a:gd name="T58" fmla="*/ 148 w 241"/>
              <a:gd name="T59" fmla="*/ 24 h 234"/>
              <a:gd name="T60" fmla="*/ 205 w 241"/>
              <a:gd name="T61" fmla="*/ 30 h 234"/>
              <a:gd name="T62" fmla="*/ 210 w 241"/>
              <a:gd name="T63" fmla="*/ 86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1" h="234">
                <a:moveTo>
                  <a:pt x="215" y="19"/>
                </a:moveTo>
                <a:cubicBezTo>
                  <a:pt x="203" y="7"/>
                  <a:pt x="187" y="0"/>
                  <a:pt x="172" y="0"/>
                </a:cubicBezTo>
                <a:cubicBezTo>
                  <a:pt x="159" y="0"/>
                  <a:pt x="146" y="5"/>
                  <a:pt x="138" y="14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26" y="126"/>
                  <a:pt x="26" y="126"/>
                  <a:pt x="26" y="126"/>
                </a:cubicBezTo>
                <a:cubicBezTo>
                  <a:pt x="23" y="130"/>
                  <a:pt x="20" y="134"/>
                  <a:pt x="19" y="139"/>
                </a:cubicBezTo>
                <a:cubicBezTo>
                  <a:pt x="2" y="201"/>
                  <a:pt x="2" y="201"/>
                  <a:pt x="2" y="201"/>
                </a:cubicBezTo>
                <a:cubicBezTo>
                  <a:pt x="2" y="201"/>
                  <a:pt x="0" y="206"/>
                  <a:pt x="0" y="209"/>
                </a:cubicBezTo>
                <a:cubicBezTo>
                  <a:pt x="0" y="223"/>
                  <a:pt x="12" y="234"/>
                  <a:pt x="26" y="234"/>
                </a:cubicBezTo>
                <a:cubicBezTo>
                  <a:pt x="29" y="234"/>
                  <a:pt x="34" y="233"/>
                  <a:pt x="34" y="233"/>
                </a:cubicBezTo>
                <a:cubicBezTo>
                  <a:pt x="96" y="216"/>
                  <a:pt x="96" y="216"/>
                  <a:pt x="96" y="216"/>
                </a:cubicBezTo>
                <a:cubicBezTo>
                  <a:pt x="101" y="215"/>
                  <a:pt x="105" y="213"/>
                  <a:pt x="109" y="209"/>
                </a:cubicBezTo>
                <a:cubicBezTo>
                  <a:pt x="220" y="97"/>
                  <a:pt x="220" y="97"/>
                  <a:pt x="220" y="97"/>
                </a:cubicBezTo>
                <a:cubicBezTo>
                  <a:pt x="241" y="76"/>
                  <a:pt x="238" y="42"/>
                  <a:pt x="215" y="19"/>
                </a:cubicBezTo>
                <a:close/>
                <a:moveTo>
                  <a:pt x="117" y="174"/>
                </a:moveTo>
                <a:cubicBezTo>
                  <a:pt x="117" y="168"/>
                  <a:pt x="115" y="161"/>
                  <a:pt x="112" y="155"/>
                </a:cubicBezTo>
                <a:cubicBezTo>
                  <a:pt x="181" y="86"/>
                  <a:pt x="181" y="86"/>
                  <a:pt x="181" y="86"/>
                </a:cubicBezTo>
                <a:cubicBezTo>
                  <a:pt x="185" y="99"/>
                  <a:pt x="183" y="113"/>
                  <a:pt x="174" y="123"/>
                </a:cubicBezTo>
                <a:cubicBezTo>
                  <a:pt x="174" y="123"/>
                  <a:pt x="174" y="123"/>
                  <a:pt x="174" y="123"/>
                </a:cubicBezTo>
                <a:cubicBezTo>
                  <a:pt x="174" y="123"/>
                  <a:pt x="174" y="123"/>
                  <a:pt x="174" y="123"/>
                </a:cubicBezTo>
                <a:cubicBezTo>
                  <a:pt x="117" y="180"/>
                  <a:pt x="117" y="180"/>
                  <a:pt x="117" y="180"/>
                </a:cubicBezTo>
                <a:cubicBezTo>
                  <a:pt x="117" y="178"/>
                  <a:pt x="118" y="176"/>
                  <a:pt x="117" y="174"/>
                </a:cubicBezTo>
                <a:close/>
                <a:moveTo>
                  <a:pt x="108" y="148"/>
                </a:moveTo>
                <a:cubicBezTo>
                  <a:pt x="106" y="144"/>
                  <a:pt x="103" y="140"/>
                  <a:pt x="99" y="136"/>
                </a:cubicBezTo>
                <a:cubicBezTo>
                  <a:pt x="94" y="131"/>
                  <a:pt x="89" y="128"/>
                  <a:pt x="84" y="125"/>
                </a:cubicBezTo>
                <a:cubicBezTo>
                  <a:pt x="154" y="55"/>
                  <a:pt x="154" y="55"/>
                  <a:pt x="154" y="55"/>
                </a:cubicBezTo>
                <a:cubicBezTo>
                  <a:pt x="159" y="58"/>
                  <a:pt x="164" y="61"/>
                  <a:pt x="169" y="66"/>
                </a:cubicBezTo>
                <a:cubicBezTo>
                  <a:pt x="173" y="70"/>
                  <a:pt x="176" y="74"/>
                  <a:pt x="178" y="79"/>
                </a:cubicBezTo>
                <a:lnTo>
                  <a:pt x="108" y="148"/>
                </a:lnTo>
                <a:close/>
                <a:moveTo>
                  <a:pt x="77" y="121"/>
                </a:moveTo>
                <a:cubicBezTo>
                  <a:pt x="70" y="119"/>
                  <a:pt x="63" y="117"/>
                  <a:pt x="56" y="117"/>
                </a:cubicBezTo>
                <a:cubicBezTo>
                  <a:pt x="112" y="60"/>
                  <a:pt x="112" y="60"/>
                  <a:pt x="112" y="60"/>
                </a:cubicBezTo>
                <a:cubicBezTo>
                  <a:pt x="121" y="52"/>
                  <a:pt x="133" y="50"/>
                  <a:pt x="146" y="53"/>
                </a:cubicBezTo>
                <a:lnTo>
                  <a:pt x="77" y="121"/>
                </a:lnTo>
                <a:close/>
                <a:moveTo>
                  <a:pt x="31" y="219"/>
                </a:moveTo>
                <a:cubicBezTo>
                  <a:pt x="30" y="219"/>
                  <a:pt x="28" y="219"/>
                  <a:pt x="26" y="220"/>
                </a:cubicBezTo>
                <a:cubicBezTo>
                  <a:pt x="20" y="219"/>
                  <a:pt x="15" y="215"/>
                  <a:pt x="15" y="209"/>
                </a:cubicBezTo>
                <a:cubicBezTo>
                  <a:pt x="15" y="207"/>
                  <a:pt x="16" y="205"/>
                  <a:pt x="16" y="204"/>
                </a:cubicBezTo>
                <a:cubicBezTo>
                  <a:pt x="23" y="177"/>
                  <a:pt x="23" y="177"/>
                  <a:pt x="23" y="177"/>
                </a:cubicBezTo>
                <a:cubicBezTo>
                  <a:pt x="32" y="176"/>
                  <a:pt x="41" y="180"/>
                  <a:pt x="48" y="187"/>
                </a:cubicBezTo>
                <a:cubicBezTo>
                  <a:pt x="55" y="194"/>
                  <a:pt x="58" y="203"/>
                  <a:pt x="58" y="211"/>
                </a:cubicBezTo>
                <a:lnTo>
                  <a:pt x="31" y="219"/>
                </a:lnTo>
                <a:close/>
                <a:moveTo>
                  <a:pt x="65" y="210"/>
                </a:moveTo>
                <a:cubicBezTo>
                  <a:pt x="65" y="200"/>
                  <a:pt x="61" y="190"/>
                  <a:pt x="53" y="182"/>
                </a:cubicBezTo>
                <a:cubicBezTo>
                  <a:pt x="45" y="174"/>
                  <a:pt x="35" y="170"/>
                  <a:pt x="26" y="169"/>
                </a:cubicBezTo>
                <a:cubicBezTo>
                  <a:pt x="33" y="143"/>
                  <a:pt x="33" y="143"/>
                  <a:pt x="33" y="143"/>
                </a:cubicBezTo>
                <a:cubicBezTo>
                  <a:pt x="33" y="141"/>
                  <a:pt x="34" y="139"/>
                  <a:pt x="36" y="138"/>
                </a:cubicBezTo>
                <a:cubicBezTo>
                  <a:pt x="50" y="127"/>
                  <a:pt x="73" y="130"/>
                  <a:pt x="88" y="146"/>
                </a:cubicBezTo>
                <a:cubicBezTo>
                  <a:pt x="105" y="163"/>
                  <a:pt x="108" y="187"/>
                  <a:pt x="95" y="201"/>
                </a:cubicBezTo>
                <a:cubicBezTo>
                  <a:pt x="94" y="202"/>
                  <a:pt x="93" y="202"/>
                  <a:pt x="92" y="202"/>
                </a:cubicBezTo>
                <a:lnTo>
                  <a:pt x="65" y="210"/>
                </a:lnTo>
                <a:close/>
                <a:moveTo>
                  <a:pt x="210" y="86"/>
                </a:moveTo>
                <a:cubicBezTo>
                  <a:pt x="198" y="99"/>
                  <a:pt x="198" y="99"/>
                  <a:pt x="198" y="99"/>
                </a:cubicBezTo>
                <a:cubicBezTo>
                  <a:pt x="198" y="97"/>
                  <a:pt x="198" y="96"/>
                  <a:pt x="198" y="94"/>
                </a:cubicBezTo>
                <a:cubicBezTo>
                  <a:pt x="196" y="80"/>
                  <a:pt x="190" y="66"/>
                  <a:pt x="179" y="55"/>
                </a:cubicBezTo>
                <a:cubicBezTo>
                  <a:pt x="167" y="44"/>
                  <a:pt x="151" y="37"/>
                  <a:pt x="136" y="37"/>
                </a:cubicBezTo>
                <a:cubicBezTo>
                  <a:pt x="148" y="24"/>
                  <a:pt x="148" y="24"/>
                  <a:pt x="148" y="24"/>
                </a:cubicBezTo>
                <a:cubicBezTo>
                  <a:pt x="154" y="18"/>
                  <a:pt x="162" y="15"/>
                  <a:pt x="172" y="15"/>
                </a:cubicBezTo>
                <a:cubicBezTo>
                  <a:pt x="183" y="15"/>
                  <a:pt x="196" y="20"/>
                  <a:pt x="205" y="30"/>
                </a:cubicBezTo>
                <a:cubicBezTo>
                  <a:pt x="214" y="38"/>
                  <a:pt x="219" y="49"/>
                  <a:pt x="219" y="60"/>
                </a:cubicBezTo>
                <a:cubicBezTo>
                  <a:pt x="220" y="70"/>
                  <a:pt x="217" y="80"/>
                  <a:pt x="210" y="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0" name="Group 19"/>
          <p:cNvGrpSpPr/>
          <p:nvPr/>
        </p:nvGrpSpPr>
        <p:grpSpPr>
          <a:xfrm>
            <a:off x="3512267" y="3607671"/>
            <a:ext cx="1263780" cy="823516"/>
            <a:chOff x="2171982" y="4409337"/>
            <a:chExt cx="1263780" cy="823516"/>
          </a:xfrm>
        </p:grpSpPr>
        <p:sp>
          <p:nvSpPr>
            <p:cNvPr id="21" name="Freeform 78"/>
            <p:cNvSpPr>
              <a:spLocks noEditPoints="1"/>
            </p:cNvSpPr>
            <p:nvPr/>
          </p:nvSpPr>
          <p:spPr bwMode="auto">
            <a:xfrm rot="14808680">
              <a:off x="2129413" y="4451906"/>
              <a:ext cx="823516" cy="738377"/>
            </a:xfrm>
            <a:custGeom>
              <a:avLst/>
              <a:gdLst>
                <a:gd name="T0" fmla="*/ 172 w 241"/>
                <a:gd name="T1" fmla="*/ 0 h 234"/>
                <a:gd name="T2" fmla="*/ 102 w 241"/>
                <a:gd name="T3" fmla="*/ 50 h 234"/>
                <a:gd name="T4" fmla="*/ 102 w 241"/>
                <a:gd name="T5" fmla="*/ 50 h 234"/>
                <a:gd name="T6" fmla="*/ 26 w 241"/>
                <a:gd name="T7" fmla="*/ 126 h 234"/>
                <a:gd name="T8" fmla="*/ 2 w 241"/>
                <a:gd name="T9" fmla="*/ 201 h 234"/>
                <a:gd name="T10" fmla="*/ 26 w 241"/>
                <a:gd name="T11" fmla="*/ 234 h 234"/>
                <a:gd name="T12" fmla="*/ 96 w 241"/>
                <a:gd name="T13" fmla="*/ 216 h 234"/>
                <a:gd name="T14" fmla="*/ 220 w 241"/>
                <a:gd name="T15" fmla="*/ 97 h 234"/>
                <a:gd name="T16" fmla="*/ 117 w 241"/>
                <a:gd name="T17" fmla="*/ 174 h 234"/>
                <a:gd name="T18" fmla="*/ 181 w 241"/>
                <a:gd name="T19" fmla="*/ 86 h 234"/>
                <a:gd name="T20" fmla="*/ 174 w 241"/>
                <a:gd name="T21" fmla="*/ 123 h 234"/>
                <a:gd name="T22" fmla="*/ 117 w 241"/>
                <a:gd name="T23" fmla="*/ 180 h 234"/>
                <a:gd name="T24" fmla="*/ 108 w 241"/>
                <a:gd name="T25" fmla="*/ 148 h 234"/>
                <a:gd name="T26" fmla="*/ 84 w 241"/>
                <a:gd name="T27" fmla="*/ 125 h 234"/>
                <a:gd name="T28" fmla="*/ 169 w 241"/>
                <a:gd name="T29" fmla="*/ 66 h 234"/>
                <a:gd name="T30" fmla="*/ 108 w 241"/>
                <a:gd name="T31" fmla="*/ 148 h 234"/>
                <a:gd name="T32" fmla="*/ 56 w 241"/>
                <a:gd name="T33" fmla="*/ 117 h 234"/>
                <a:gd name="T34" fmla="*/ 146 w 241"/>
                <a:gd name="T35" fmla="*/ 53 h 234"/>
                <a:gd name="T36" fmla="*/ 31 w 241"/>
                <a:gd name="T37" fmla="*/ 219 h 234"/>
                <a:gd name="T38" fmla="*/ 15 w 241"/>
                <a:gd name="T39" fmla="*/ 209 h 234"/>
                <a:gd name="T40" fmla="*/ 23 w 241"/>
                <a:gd name="T41" fmla="*/ 177 h 234"/>
                <a:gd name="T42" fmla="*/ 58 w 241"/>
                <a:gd name="T43" fmla="*/ 211 h 234"/>
                <a:gd name="T44" fmla="*/ 65 w 241"/>
                <a:gd name="T45" fmla="*/ 210 h 234"/>
                <a:gd name="T46" fmla="*/ 26 w 241"/>
                <a:gd name="T47" fmla="*/ 169 h 234"/>
                <a:gd name="T48" fmla="*/ 36 w 241"/>
                <a:gd name="T49" fmla="*/ 138 h 234"/>
                <a:gd name="T50" fmla="*/ 95 w 241"/>
                <a:gd name="T51" fmla="*/ 201 h 234"/>
                <a:gd name="T52" fmla="*/ 65 w 241"/>
                <a:gd name="T53" fmla="*/ 210 h 234"/>
                <a:gd name="T54" fmla="*/ 198 w 241"/>
                <a:gd name="T55" fmla="*/ 99 h 234"/>
                <a:gd name="T56" fmla="*/ 179 w 241"/>
                <a:gd name="T57" fmla="*/ 55 h 234"/>
                <a:gd name="T58" fmla="*/ 148 w 241"/>
                <a:gd name="T59" fmla="*/ 24 h 234"/>
                <a:gd name="T60" fmla="*/ 205 w 241"/>
                <a:gd name="T61" fmla="*/ 30 h 234"/>
                <a:gd name="T62" fmla="*/ 210 w 241"/>
                <a:gd name="T63" fmla="*/ 8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34">
                  <a:moveTo>
                    <a:pt x="215" y="19"/>
                  </a:moveTo>
                  <a:cubicBezTo>
                    <a:pt x="203" y="7"/>
                    <a:pt x="187" y="0"/>
                    <a:pt x="172" y="0"/>
                  </a:cubicBezTo>
                  <a:cubicBezTo>
                    <a:pt x="159" y="0"/>
                    <a:pt x="146" y="5"/>
                    <a:pt x="138" y="14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26" y="126"/>
                    <a:pt x="26" y="126"/>
                    <a:pt x="26" y="126"/>
                  </a:cubicBezTo>
                  <a:cubicBezTo>
                    <a:pt x="23" y="130"/>
                    <a:pt x="20" y="134"/>
                    <a:pt x="19" y="139"/>
                  </a:cubicBezTo>
                  <a:cubicBezTo>
                    <a:pt x="2" y="201"/>
                    <a:pt x="2" y="201"/>
                    <a:pt x="2" y="201"/>
                  </a:cubicBezTo>
                  <a:cubicBezTo>
                    <a:pt x="2" y="201"/>
                    <a:pt x="0" y="206"/>
                    <a:pt x="0" y="209"/>
                  </a:cubicBezTo>
                  <a:cubicBezTo>
                    <a:pt x="0" y="223"/>
                    <a:pt x="12" y="234"/>
                    <a:pt x="26" y="234"/>
                  </a:cubicBezTo>
                  <a:cubicBezTo>
                    <a:pt x="29" y="234"/>
                    <a:pt x="34" y="233"/>
                    <a:pt x="34" y="233"/>
                  </a:cubicBezTo>
                  <a:cubicBezTo>
                    <a:pt x="96" y="216"/>
                    <a:pt x="96" y="216"/>
                    <a:pt x="96" y="216"/>
                  </a:cubicBezTo>
                  <a:cubicBezTo>
                    <a:pt x="101" y="215"/>
                    <a:pt x="105" y="213"/>
                    <a:pt x="109" y="209"/>
                  </a:cubicBezTo>
                  <a:cubicBezTo>
                    <a:pt x="220" y="97"/>
                    <a:pt x="220" y="97"/>
                    <a:pt x="220" y="97"/>
                  </a:cubicBezTo>
                  <a:cubicBezTo>
                    <a:pt x="241" y="76"/>
                    <a:pt x="238" y="42"/>
                    <a:pt x="215" y="19"/>
                  </a:cubicBezTo>
                  <a:close/>
                  <a:moveTo>
                    <a:pt x="117" y="174"/>
                  </a:moveTo>
                  <a:cubicBezTo>
                    <a:pt x="117" y="168"/>
                    <a:pt x="115" y="161"/>
                    <a:pt x="112" y="15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5" y="99"/>
                    <a:pt x="183" y="11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17" y="180"/>
                    <a:pt x="117" y="180"/>
                    <a:pt x="117" y="180"/>
                  </a:cubicBezTo>
                  <a:cubicBezTo>
                    <a:pt x="117" y="178"/>
                    <a:pt x="118" y="176"/>
                    <a:pt x="117" y="174"/>
                  </a:cubicBezTo>
                  <a:close/>
                  <a:moveTo>
                    <a:pt x="108" y="148"/>
                  </a:moveTo>
                  <a:cubicBezTo>
                    <a:pt x="106" y="144"/>
                    <a:pt x="103" y="140"/>
                    <a:pt x="99" y="136"/>
                  </a:cubicBezTo>
                  <a:cubicBezTo>
                    <a:pt x="94" y="131"/>
                    <a:pt x="89" y="128"/>
                    <a:pt x="84" y="12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9" y="58"/>
                    <a:pt x="164" y="61"/>
                    <a:pt x="169" y="66"/>
                  </a:cubicBezTo>
                  <a:cubicBezTo>
                    <a:pt x="173" y="70"/>
                    <a:pt x="176" y="74"/>
                    <a:pt x="178" y="79"/>
                  </a:cubicBezTo>
                  <a:lnTo>
                    <a:pt x="108" y="148"/>
                  </a:lnTo>
                  <a:close/>
                  <a:moveTo>
                    <a:pt x="77" y="121"/>
                  </a:moveTo>
                  <a:cubicBezTo>
                    <a:pt x="70" y="119"/>
                    <a:pt x="63" y="117"/>
                    <a:pt x="56" y="117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21" y="52"/>
                    <a:pt x="133" y="50"/>
                    <a:pt x="146" y="53"/>
                  </a:cubicBezTo>
                  <a:lnTo>
                    <a:pt x="77" y="121"/>
                  </a:lnTo>
                  <a:close/>
                  <a:moveTo>
                    <a:pt x="31" y="219"/>
                  </a:moveTo>
                  <a:cubicBezTo>
                    <a:pt x="30" y="219"/>
                    <a:pt x="28" y="219"/>
                    <a:pt x="26" y="220"/>
                  </a:cubicBezTo>
                  <a:cubicBezTo>
                    <a:pt x="20" y="219"/>
                    <a:pt x="15" y="215"/>
                    <a:pt x="15" y="209"/>
                  </a:cubicBezTo>
                  <a:cubicBezTo>
                    <a:pt x="15" y="207"/>
                    <a:pt x="16" y="205"/>
                    <a:pt x="16" y="204"/>
                  </a:cubicBezTo>
                  <a:cubicBezTo>
                    <a:pt x="23" y="177"/>
                    <a:pt x="23" y="177"/>
                    <a:pt x="23" y="177"/>
                  </a:cubicBezTo>
                  <a:cubicBezTo>
                    <a:pt x="32" y="176"/>
                    <a:pt x="41" y="180"/>
                    <a:pt x="48" y="187"/>
                  </a:cubicBezTo>
                  <a:cubicBezTo>
                    <a:pt x="55" y="194"/>
                    <a:pt x="58" y="203"/>
                    <a:pt x="58" y="211"/>
                  </a:cubicBezTo>
                  <a:lnTo>
                    <a:pt x="31" y="219"/>
                  </a:lnTo>
                  <a:close/>
                  <a:moveTo>
                    <a:pt x="65" y="210"/>
                  </a:moveTo>
                  <a:cubicBezTo>
                    <a:pt x="65" y="200"/>
                    <a:pt x="61" y="190"/>
                    <a:pt x="53" y="182"/>
                  </a:cubicBezTo>
                  <a:cubicBezTo>
                    <a:pt x="45" y="174"/>
                    <a:pt x="35" y="170"/>
                    <a:pt x="26" y="169"/>
                  </a:cubicBezTo>
                  <a:cubicBezTo>
                    <a:pt x="33" y="143"/>
                    <a:pt x="33" y="143"/>
                    <a:pt x="33" y="143"/>
                  </a:cubicBezTo>
                  <a:cubicBezTo>
                    <a:pt x="33" y="141"/>
                    <a:pt x="34" y="139"/>
                    <a:pt x="36" y="138"/>
                  </a:cubicBezTo>
                  <a:cubicBezTo>
                    <a:pt x="50" y="127"/>
                    <a:pt x="73" y="130"/>
                    <a:pt x="88" y="146"/>
                  </a:cubicBezTo>
                  <a:cubicBezTo>
                    <a:pt x="105" y="163"/>
                    <a:pt x="108" y="187"/>
                    <a:pt x="95" y="201"/>
                  </a:cubicBezTo>
                  <a:cubicBezTo>
                    <a:pt x="94" y="202"/>
                    <a:pt x="93" y="202"/>
                    <a:pt x="92" y="202"/>
                  </a:cubicBezTo>
                  <a:lnTo>
                    <a:pt x="65" y="210"/>
                  </a:lnTo>
                  <a:close/>
                  <a:moveTo>
                    <a:pt x="210" y="86"/>
                  </a:moveTo>
                  <a:cubicBezTo>
                    <a:pt x="198" y="99"/>
                    <a:pt x="198" y="99"/>
                    <a:pt x="198" y="99"/>
                  </a:cubicBezTo>
                  <a:cubicBezTo>
                    <a:pt x="198" y="97"/>
                    <a:pt x="198" y="96"/>
                    <a:pt x="198" y="94"/>
                  </a:cubicBezTo>
                  <a:cubicBezTo>
                    <a:pt x="196" y="80"/>
                    <a:pt x="190" y="66"/>
                    <a:pt x="179" y="55"/>
                  </a:cubicBezTo>
                  <a:cubicBezTo>
                    <a:pt x="167" y="44"/>
                    <a:pt x="151" y="37"/>
                    <a:pt x="136" y="37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54" y="18"/>
                    <a:pt x="162" y="15"/>
                    <a:pt x="172" y="15"/>
                  </a:cubicBezTo>
                  <a:cubicBezTo>
                    <a:pt x="183" y="15"/>
                    <a:pt x="196" y="20"/>
                    <a:pt x="205" y="30"/>
                  </a:cubicBezTo>
                  <a:cubicBezTo>
                    <a:pt x="214" y="38"/>
                    <a:pt x="219" y="49"/>
                    <a:pt x="219" y="60"/>
                  </a:cubicBezTo>
                  <a:cubicBezTo>
                    <a:pt x="220" y="70"/>
                    <a:pt x="217" y="80"/>
                    <a:pt x="210" y="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956144" y="4835046"/>
              <a:ext cx="4796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F50000"/>
                  </a:solidFill>
                  <a:latin typeface="Arial" pitchFamily="34" charset="0"/>
                  <a:cs typeface="Arial" pitchFamily="34" charset="0"/>
                </a:rPr>
                <a:t>1B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519820" y="3530071"/>
            <a:ext cx="9672180" cy="986631"/>
            <a:chOff x="2519820" y="3530071"/>
            <a:chExt cx="9672180" cy="986631"/>
          </a:xfrm>
        </p:grpSpPr>
        <p:sp>
          <p:nvSpPr>
            <p:cNvPr id="24" name="Rectangle 1"/>
            <p:cNvSpPr/>
            <p:nvPr/>
          </p:nvSpPr>
          <p:spPr>
            <a:xfrm rot="10800000" flipH="1">
              <a:off x="2519820" y="3530071"/>
              <a:ext cx="9672180" cy="986631"/>
            </a:xfrm>
            <a:custGeom>
              <a:avLst/>
              <a:gdLst>
                <a:gd name="connsiteX0" fmla="*/ 0 w 9163574"/>
                <a:gd name="connsiteY0" fmla="*/ 0 h 1249960"/>
                <a:gd name="connsiteX1" fmla="*/ 9163574 w 9163574"/>
                <a:gd name="connsiteY1" fmla="*/ 0 h 1249960"/>
                <a:gd name="connsiteX2" fmla="*/ 9163574 w 9163574"/>
                <a:gd name="connsiteY2" fmla="*/ 1249960 h 1249960"/>
                <a:gd name="connsiteX3" fmla="*/ 0 w 9163574"/>
                <a:gd name="connsiteY3" fmla="*/ 1249960 h 1249960"/>
                <a:gd name="connsiteX4" fmla="*/ 0 w 9163574"/>
                <a:gd name="connsiteY4" fmla="*/ 0 h 1249960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882428 w 10046002"/>
                <a:gd name="connsiteY3" fmla="*/ 1278735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1000725 w 10046002"/>
                <a:gd name="connsiteY3" fmla="*/ 1253157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36411 w 10046002"/>
                <a:gd name="connsiteY1" fmla="*/ 3198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46002" h="1278735">
                  <a:moveTo>
                    <a:pt x="0" y="0"/>
                  </a:moveTo>
                  <a:lnTo>
                    <a:pt x="10036411" y="3198"/>
                  </a:lnTo>
                  <a:lnTo>
                    <a:pt x="10046002" y="1278735"/>
                  </a:lnTo>
                  <a:lnTo>
                    <a:pt x="904809" y="12723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305300" y="3582448"/>
              <a:ext cx="7696200" cy="914400"/>
            </a:xfrm>
            <a:prstGeom prst="rect">
              <a:avLst/>
            </a:prstGeom>
            <a:solidFill>
              <a:srgbClr val="F5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>
                  <a:latin typeface="Arial" pitchFamily="34" charset="0"/>
                  <a:cs typeface="Arial" pitchFamily="34" charset="0"/>
                </a:rPr>
                <a:t>Culturally Competent Child Advocacy</a:t>
              </a:r>
            </a:p>
          </p:txBody>
        </p:sp>
        <p:sp>
          <p:nvSpPr>
            <p:cNvPr id="26" name="Freeform 78"/>
            <p:cNvSpPr>
              <a:spLocks noEditPoints="1"/>
            </p:cNvSpPr>
            <p:nvPr/>
          </p:nvSpPr>
          <p:spPr bwMode="auto">
            <a:xfrm rot="14808680">
              <a:off x="3469698" y="3650240"/>
              <a:ext cx="823516" cy="738377"/>
            </a:xfrm>
            <a:custGeom>
              <a:avLst/>
              <a:gdLst>
                <a:gd name="T0" fmla="*/ 172 w 241"/>
                <a:gd name="T1" fmla="*/ 0 h 234"/>
                <a:gd name="T2" fmla="*/ 102 w 241"/>
                <a:gd name="T3" fmla="*/ 50 h 234"/>
                <a:gd name="T4" fmla="*/ 102 w 241"/>
                <a:gd name="T5" fmla="*/ 50 h 234"/>
                <a:gd name="T6" fmla="*/ 26 w 241"/>
                <a:gd name="T7" fmla="*/ 126 h 234"/>
                <a:gd name="T8" fmla="*/ 2 w 241"/>
                <a:gd name="T9" fmla="*/ 201 h 234"/>
                <a:gd name="T10" fmla="*/ 26 w 241"/>
                <a:gd name="T11" fmla="*/ 234 h 234"/>
                <a:gd name="T12" fmla="*/ 96 w 241"/>
                <a:gd name="T13" fmla="*/ 216 h 234"/>
                <a:gd name="T14" fmla="*/ 220 w 241"/>
                <a:gd name="T15" fmla="*/ 97 h 234"/>
                <a:gd name="T16" fmla="*/ 117 w 241"/>
                <a:gd name="T17" fmla="*/ 174 h 234"/>
                <a:gd name="T18" fmla="*/ 181 w 241"/>
                <a:gd name="T19" fmla="*/ 86 h 234"/>
                <a:gd name="T20" fmla="*/ 174 w 241"/>
                <a:gd name="T21" fmla="*/ 123 h 234"/>
                <a:gd name="T22" fmla="*/ 117 w 241"/>
                <a:gd name="T23" fmla="*/ 180 h 234"/>
                <a:gd name="T24" fmla="*/ 108 w 241"/>
                <a:gd name="T25" fmla="*/ 148 h 234"/>
                <a:gd name="T26" fmla="*/ 84 w 241"/>
                <a:gd name="T27" fmla="*/ 125 h 234"/>
                <a:gd name="T28" fmla="*/ 169 w 241"/>
                <a:gd name="T29" fmla="*/ 66 h 234"/>
                <a:gd name="T30" fmla="*/ 108 w 241"/>
                <a:gd name="T31" fmla="*/ 148 h 234"/>
                <a:gd name="T32" fmla="*/ 56 w 241"/>
                <a:gd name="T33" fmla="*/ 117 h 234"/>
                <a:gd name="T34" fmla="*/ 146 w 241"/>
                <a:gd name="T35" fmla="*/ 53 h 234"/>
                <a:gd name="T36" fmla="*/ 31 w 241"/>
                <a:gd name="T37" fmla="*/ 219 h 234"/>
                <a:gd name="T38" fmla="*/ 15 w 241"/>
                <a:gd name="T39" fmla="*/ 209 h 234"/>
                <a:gd name="T40" fmla="*/ 23 w 241"/>
                <a:gd name="T41" fmla="*/ 177 h 234"/>
                <a:gd name="T42" fmla="*/ 58 w 241"/>
                <a:gd name="T43" fmla="*/ 211 h 234"/>
                <a:gd name="T44" fmla="*/ 65 w 241"/>
                <a:gd name="T45" fmla="*/ 210 h 234"/>
                <a:gd name="T46" fmla="*/ 26 w 241"/>
                <a:gd name="T47" fmla="*/ 169 h 234"/>
                <a:gd name="T48" fmla="*/ 36 w 241"/>
                <a:gd name="T49" fmla="*/ 138 h 234"/>
                <a:gd name="T50" fmla="*/ 95 w 241"/>
                <a:gd name="T51" fmla="*/ 201 h 234"/>
                <a:gd name="T52" fmla="*/ 65 w 241"/>
                <a:gd name="T53" fmla="*/ 210 h 234"/>
                <a:gd name="T54" fmla="*/ 198 w 241"/>
                <a:gd name="T55" fmla="*/ 99 h 234"/>
                <a:gd name="T56" fmla="*/ 179 w 241"/>
                <a:gd name="T57" fmla="*/ 55 h 234"/>
                <a:gd name="T58" fmla="*/ 148 w 241"/>
                <a:gd name="T59" fmla="*/ 24 h 234"/>
                <a:gd name="T60" fmla="*/ 205 w 241"/>
                <a:gd name="T61" fmla="*/ 30 h 234"/>
                <a:gd name="T62" fmla="*/ 210 w 241"/>
                <a:gd name="T63" fmla="*/ 8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34">
                  <a:moveTo>
                    <a:pt x="215" y="19"/>
                  </a:moveTo>
                  <a:cubicBezTo>
                    <a:pt x="203" y="7"/>
                    <a:pt x="187" y="0"/>
                    <a:pt x="172" y="0"/>
                  </a:cubicBezTo>
                  <a:cubicBezTo>
                    <a:pt x="159" y="0"/>
                    <a:pt x="146" y="5"/>
                    <a:pt x="138" y="14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26" y="126"/>
                    <a:pt x="26" y="126"/>
                    <a:pt x="26" y="126"/>
                  </a:cubicBezTo>
                  <a:cubicBezTo>
                    <a:pt x="23" y="130"/>
                    <a:pt x="20" y="134"/>
                    <a:pt x="19" y="139"/>
                  </a:cubicBezTo>
                  <a:cubicBezTo>
                    <a:pt x="2" y="201"/>
                    <a:pt x="2" y="201"/>
                    <a:pt x="2" y="201"/>
                  </a:cubicBezTo>
                  <a:cubicBezTo>
                    <a:pt x="2" y="201"/>
                    <a:pt x="0" y="206"/>
                    <a:pt x="0" y="209"/>
                  </a:cubicBezTo>
                  <a:cubicBezTo>
                    <a:pt x="0" y="223"/>
                    <a:pt x="12" y="234"/>
                    <a:pt x="26" y="234"/>
                  </a:cubicBezTo>
                  <a:cubicBezTo>
                    <a:pt x="29" y="234"/>
                    <a:pt x="34" y="233"/>
                    <a:pt x="34" y="233"/>
                  </a:cubicBezTo>
                  <a:cubicBezTo>
                    <a:pt x="96" y="216"/>
                    <a:pt x="96" y="216"/>
                    <a:pt x="96" y="216"/>
                  </a:cubicBezTo>
                  <a:cubicBezTo>
                    <a:pt x="101" y="215"/>
                    <a:pt x="105" y="213"/>
                    <a:pt x="109" y="209"/>
                  </a:cubicBezTo>
                  <a:cubicBezTo>
                    <a:pt x="220" y="97"/>
                    <a:pt x="220" y="97"/>
                    <a:pt x="220" y="97"/>
                  </a:cubicBezTo>
                  <a:cubicBezTo>
                    <a:pt x="241" y="76"/>
                    <a:pt x="238" y="42"/>
                    <a:pt x="215" y="19"/>
                  </a:cubicBezTo>
                  <a:close/>
                  <a:moveTo>
                    <a:pt x="117" y="174"/>
                  </a:moveTo>
                  <a:cubicBezTo>
                    <a:pt x="117" y="168"/>
                    <a:pt x="115" y="161"/>
                    <a:pt x="112" y="15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5" y="99"/>
                    <a:pt x="183" y="11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17" y="180"/>
                    <a:pt x="117" y="180"/>
                    <a:pt x="117" y="180"/>
                  </a:cubicBezTo>
                  <a:cubicBezTo>
                    <a:pt x="117" y="178"/>
                    <a:pt x="118" y="176"/>
                    <a:pt x="117" y="174"/>
                  </a:cubicBezTo>
                  <a:close/>
                  <a:moveTo>
                    <a:pt x="108" y="148"/>
                  </a:moveTo>
                  <a:cubicBezTo>
                    <a:pt x="106" y="144"/>
                    <a:pt x="103" y="140"/>
                    <a:pt x="99" y="136"/>
                  </a:cubicBezTo>
                  <a:cubicBezTo>
                    <a:pt x="94" y="131"/>
                    <a:pt x="89" y="128"/>
                    <a:pt x="84" y="12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9" y="58"/>
                    <a:pt x="164" y="61"/>
                    <a:pt x="169" y="66"/>
                  </a:cubicBezTo>
                  <a:cubicBezTo>
                    <a:pt x="173" y="70"/>
                    <a:pt x="176" y="74"/>
                    <a:pt x="178" y="79"/>
                  </a:cubicBezTo>
                  <a:lnTo>
                    <a:pt x="108" y="148"/>
                  </a:lnTo>
                  <a:close/>
                  <a:moveTo>
                    <a:pt x="77" y="121"/>
                  </a:moveTo>
                  <a:cubicBezTo>
                    <a:pt x="70" y="119"/>
                    <a:pt x="63" y="117"/>
                    <a:pt x="56" y="117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21" y="52"/>
                    <a:pt x="133" y="50"/>
                    <a:pt x="146" y="53"/>
                  </a:cubicBezTo>
                  <a:lnTo>
                    <a:pt x="77" y="121"/>
                  </a:lnTo>
                  <a:close/>
                  <a:moveTo>
                    <a:pt x="31" y="219"/>
                  </a:moveTo>
                  <a:cubicBezTo>
                    <a:pt x="30" y="219"/>
                    <a:pt x="28" y="219"/>
                    <a:pt x="26" y="220"/>
                  </a:cubicBezTo>
                  <a:cubicBezTo>
                    <a:pt x="20" y="219"/>
                    <a:pt x="15" y="215"/>
                    <a:pt x="15" y="209"/>
                  </a:cubicBezTo>
                  <a:cubicBezTo>
                    <a:pt x="15" y="207"/>
                    <a:pt x="16" y="205"/>
                    <a:pt x="16" y="204"/>
                  </a:cubicBezTo>
                  <a:cubicBezTo>
                    <a:pt x="23" y="177"/>
                    <a:pt x="23" y="177"/>
                    <a:pt x="23" y="177"/>
                  </a:cubicBezTo>
                  <a:cubicBezTo>
                    <a:pt x="32" y="176"/>
                    <a:pt x="41" y="180"/>
                    <a:pt x="48" y="187"/>
                  </a:cubicBezTo>
                  <a:cubicBezTo>
                    <a:pt x="55" y="194"/>
                    <a:pt x="58" y="203"/>
                    <a:pt x="58" y="211"/>
                  </a:cubicBezTo>
                  <a:lnTo>
                    <a:pt x="31" y="219"/>
                  </a:lnTo>
                  <a:close/>
                  <a:moveTo>
                    <a:pt x="65" y="210"/>
                  </a:moveTo>
                  <a:cubicBezTo>
                    <a:pt x="65" y="200"/>
                    <a:pt x="61" y="190"/>
                    <a:pt x="53" y="182"/>
                  </a:cubicBezTo>
                  <a:cubicBezTo>
                    <a:pt x="45" y="174"/>
                    <a:pt x="35" y="170"/>
                    <a:pt x="26" y="169"/>
                  </a:cubicBezTo>
                  <a:cubicBezTo>
                    <a:pt x="33" y="143"/>
                    <a:pt x="33" y="143"/>
                    <a:pt x="33" y="143"/>
                  </a:cubicBezTo>
                  <a:cubicBezTo>
                    <a:pt x="33" y="141"/>
                    <a:pt x="34" y="139"/>
                    <a:pt x="36" y="138"/>
                  </a:cubicBezTo>
                  <a:cubicBezTo>
                    <a:pt x="50" y="127"/>
                    <a:pt x="73" y="130"/>
                    <a:pt x="88" y="146"/>
                  </a:cubicBezTo>
                  <a:cubicBezTo>
                    <a:pt x="105" y="163"/>
                    <a:pt x="108" y="187"/>
                    <a:pt x="95" y="201"/>
                  </a:cubicBezTo>
                  <a:cubicBezTo>
                    <a:pt x="94" y="202"/>
                    <a:pt x="93" y="202"/>
                    <a:pt x="92" y="202"/>
                  </a:cubicBezTo>
                  <a:lnTo>
                    <a:pt x="65" y="210"/>
                  </a:lnTo>
                  <a:close/>
                  <a:moveTo>
                    <a:pt x="210" y="86"/>
                  </a:moveTo>
                  <a:cubicBezTo>
                    <a:pt x="198" y="99"/>
                    <a:pt x="198" y="99"/>
                    <a:pt x="198" y="99"/>
                  </a:cubicBezTo>
                  <a:cubicBezTo>
                    <a:pt x="198" y="97"/>
                    <a:pt x="198" y="96"/>
                    <a:pt x="198" y="94"/>
                  </a:cubicBezTo>
                  <a:cubicBezTo>
                    <a:pt x="196" y="80"/>
                    <a:pt x="190" y="66"/>
                    <a:pt x="179" y="55"/>
                  </a:cubicBezTo>
                  <a:cubicBezTo>
                    <a:pt x="167" y="44"/>
                    <a:pt x="151" y="37"/>
                    <a:pt x="136" y="37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54" y="18"/>
                    <a:pt x="162" y="15"/>
                    <a:pt x="172" y="15"/>
                  </a:cubicBezTo>
                  <a:cubicBezTo>
                    <a:pt x="183" y="15"/>
                    <a:pt x="196" y="20"/>
                    <a:pt x="205" y="30"/>
                  </a:cubicBezTo>
                  <a:cubicBezTo>
                    <a:pt x="214" y="38"/>
                    <a:pt x="219" y="49"/>
                    <a:pt x="219" y="60"/>
                  </a:cubicBezTo>
                  <a:cubicBezTo>
                    <a:pt x="220" y="70"/>
                    <a:pt x="217" y="80"/>
                    <a:pt x="210" y="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7916027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Stereotypes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674064" y="1724081"/>
            <a:ext cx="8103476" cy="4538933"/>
          </a:xfrm>
        </p:spPr>
        <p:txBody>
          <a:bodyPr/>
          <a:lstStyle/>
          <a:p>
            <a:pPr marL="457200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rigid and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lexible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ld even when presented with evidence contrary to th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reotype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mit people’s potential, perpetuat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ths and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 gross generalizations about a particular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26471" y="2637578"/>
            <a:ext cx="2101929" cy="249721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03086" y="1948090"/>
            <a:ext cx="277107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>
                <a:latin typeface="Arial"/>
                <a:cs typeface="Arial"/>
              </a:rPr>
              <a:t>Stereotypes</a:t>
            </a:r>
            <a:r>
              <a:rPr lang="mr-IN" sz="2400" b="1" dirty="0" smtClean="0">
                <a:latin typeface="Arial"/>
                <a:cs typeface="Arial"/>
              </a:rPr>
              <a:t>…</a:t>
            </a:r>
            <a:endParaRPr lang="en-US" sz="24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63633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Cultural Competenc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3610304" y="1738638"/>
            <a:ext cx="8103476" cy="4538933"/>
          </a:xfrm>
        </p:spPr>
        <p:txBody>
          <a:bodyPr/>
          <a:lstStyle/>
          <a:p>
            <a:pPr marL="457200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ltural competence is an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going process of recognizing and overcoming biases by thinking flexibly and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ding credible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s of information about those who are different from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. 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ng awar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and respecting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ces allows you to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e culturally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nt child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ocacy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49" y="2546592"/>
            <a:ext cx="2731971" cy="2658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7233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Increasing Cultural Competence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42176" y="2008555"/>
            <a:ext cx="109978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increase your cultural competence, you can use the resources in your community:</a:t>
            </a:r>
          </a:p>
        </p:txBody>
      </p:sp>
      <p:grpSp>
        <p:nvGrpSpPr>
          <p:cNvPr id="27" name="Group 26"/>
          <p:cNvGrpSpPr/>
          <p:nvPr/>
        </p:nvGrpSpPr>
        <p:grpSpPr>
          <a:xfrm>
            <a:off x="718262" y="3210141"/>
            <a:ext cx="11059110" cy="2631510"/>
            <a:chOff x="718262" y="3210141"/>
            <a:chExt cx="11059110" cy="2631510"/>
          </a:xfrm>
        </p:grpSpPr>
        <p:sp>
          <p:nvSpPr>
            <p:cNvPr id="3" name="Rectangle 2"/>
            <p:cNvSpPr/>
            <p:nvPr/>
          </p:nvSpPr>
          <p:spPr>
            <a:xfrm>
              <a:off x="770339" y="4641322"/>
              <a:ext cx="118041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buClr>
                  <a:srgbClr val="FF0000"/>
                </a:buClr>
              </a:pP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ocal library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2557439" y="4641322"/>
              <a:ext cx="1519968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buClr>
                  <a:srgbClr val="FF0000"/>
                </a:buClr>
              </a:pP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seums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4263165" y="4641322"/>
              <a:ext cx="1784128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buClr>
                  <a:srgbClr val="FF0000"/>
                </a:buClr>
              </a:pP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 university in your community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6105108" y="4641322"/>
              <a:ext cx="1532893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buClr>
                  <a:srgbClr val="FF0000"/>
                </a:buClr>
              </a:pP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internet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528876" y="4641322"/>
              <a:ext cx="2339102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buClr>
                  <a:srgbClr val="FF0000"/>
                </a:buClr>
              </a:pP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unity agencies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9575089" y="4641322"/>
              <a:ext cx="2202283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buClr>
                  <a:srgbClr val="FF0000"/>
                </a:buClr>
              </a:pPr>
              <a:r>
                <a:rPr lang="en-US" sz="2400" dirty="0">
                  <a:solidFill>
                    <a:schemeClr val="tx2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munities of faith</a:t>
              </a:r>
            </a:p>
          </p:txBody>
        </p:sp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18262" y="3210141"/>
              <a:ext cx="1323683" cy="1324919"/>
            </a:xfrm>
            <a:prstGeom prst="rect">
              <a:avLst/>
            </a:prstGeom>
          </p:spPr>
        </p:pic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606263" y="3210141"/>
              <a:ext cx="1323683" cy="1324919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402824" y="3210141"/>
              <a:ext cx="1323683" cy="1324919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29865" y="3210141"/>
              <a:ext cx="1323683" cy="1324919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36586" y="3210141"/>
              <a:ext cx="1323683" cy="1324919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894107" y="3210141"/>
              <a:ext cx="1323683" cy="1324919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53254" y="3554222"/>
              <a:ext cx="675542" cy="644387"/>
            </a:xfrm>
            <a:prstGeom prst="rect">
              <a:avLst/>
            </a:prstGeom>
          </p:spPr>
        </p:pic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86508" y="3486803"/>
              <a:ext cx="763191" cy="77159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719551" y="3486803"/>
              <a:ext cx="690228" cy="690872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491361" y="3455057"/>
              <a:ext cx="800690" cy="835086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8289447" y="3543547"/>
              <a:ext cx="817960" cy="671824"/>
            </a:xfrm>
            <a:prstGeom prst="rect">
              <a:avLst/>
            </a:prstGeom>
          </p:spPr>
        </p:pic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0208718" y="3581624"/>
              <a:ext cx="694461" cy="5819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411236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20474" y="4136252"/>
            <a:ext cx="285293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Work Recap, Chapter Overview</a:t>
            </a:r>
            <a:r>
              <a:rPr lang="en-US" sz="2400" dirty="0" smtClean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ncies</a:t>
            </a:r>
          </a:p>
        </p:txBody>
      </p:sp>
      <p:sp>
        <p:nvSpPr>
          <p:cNvPr id="7" name="Rectangle 6"/>
          <p:cNvSpPr/>
          <p:nvPr/>
        </p:nvSpPr>
        <p:spPr>
          <a:xfrm>
            <a:off x="3137227" y="4116879"/>
            <a:ext cx="16722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 Violence</a:t>
            </a:r>
          </a:p>
        </p:txBody>
      </p:sp>
      <p:sp>
        <p:nvSpPr>
          <p:cNvPr id="8" name="Rectangle 7"/>
          <p:cNvSpPr/>
          <p:nvPr/>
        </p:nvSpPr>
        <p:spPr>
          <a:xfrm>
            <a:off x="4919818" y="4116879"/>
            <a:ext cx="24581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 Building: Cultural Competence</a:t>
            </a:r>
          </a:p>
        </p:txBody>
      </p:sp>
      <p:sp>
        <p:nvSpPr>
          <p:cNvPr id="9" name="Rectangle 8"/>
          <p:cNvSpPr/>
          <p:nvPr/>
        </p:nvSpPr>
        <p:spPr>
          <a:xfrm>
            <a:off x="7544156" y="4116879"/>
            <a:ext cx="14594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a Case</a:t>
            </a:r>
          </a:p>
        </p:txBody>
      </p:sp>
      <p:sp>
        <p:nvSpPr>
          <p:cNvPr id="10" name="Rectangle 9"/>
          <p:cNvSpPr/>
          <p:nvPr/>
        </p:nvSpPr>
        <p:spPr>
          <a:xfrm>
            <a:off x="9011149" y="4078779"/>
            <a:ext cx="299987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Wrap-Up: Review</a:t>
            </a:r>
            <a:r>
              <a:rPr lang="en-US" sz="2400" dirty="0" smtClean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 </a:t>
            </a:r>
          </a:p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7: Pre-Work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939431" y="2514061"/>
            <a:ext cx="809435" cy="812462"/>
          </a:xfrm>
          <a:prstGeom prst="rect">
            <a:avLst/>
          </a:prstGeom>
        </p:spPr>
      </p:pic>
      <p:sp>
        <p:nvSpPr>
          <p:cNvPr id="12" name="Freeform 5"/>
          <p:cNvSpPr>
            <a:spLocks/>
          </p:cNvSpPr>
          <p:nvPr/>
        </p:nvSpPr>
        <p:spPr bwMode="auto">
          <a:xfrm>
            <a:off x="9107488" y="2918466"/>
            <a:ext cx="2376488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2" y="358"/>
              </a:cxn>
              <a:cxn ang="0">
                <a:pos x="104" y="1"/>
              </a:cxn>
              <a:cxn ang="0">
                <a:pos x="104" y="0"/>
              </a:cxn>
              <a:cxn ang="0">
                <a:pos x="0" y="0"/>
              </a:cxn>
              <a:cxn ang="0">
                <a:pos x="0" y="1"/>
              </a:cxn>
              <a:cxn ang="0">
                <a:pos x="462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9" y="358"/>
                  <a:pt x="462" y="358"/>
                </a:cubicBezTo>
                <a:cubicBezTo>
                  <a:pt x="264" y="358"/>
                  <a:pt x="104" y="198"/>
                  <a:pt x="104" y="1"/>
                </a:cubicBezTo>
                <a:cubicBezTo>
                  <a:pt x="104" y="1"/>
                  <a:pt x="104" y="1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70008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1" y="104"/>
              </a:cxn>
              <a:cxn ang="0">
                <a:pos x="819" y="461"/>
              </a:cxn>
              <a:cxn ang="0">
                <a:pos x="819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819" y="461"/>
                  <a:pt x="819" y="461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1" y="0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7"/>
          <p:cNvSpPr>
            <a:spLocks/>
          </p:cNvSpPr>
          <p:nvPr/>
        </p:nvSpPr>
        <p:spPr bwMode="auto">
          <a:xfrm>
            <a:off x="4892675" y="2918466"/>
            <a:ext cx="2374900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1" y="359"/>
              </a:cxn>
              <a:cxn ang="0">
                <a:pos x="103" y="1"/>
              </a:cxn>
              <a:cxn ang="0">
                <a:pos x="103" y="0"/>
              </a:cxn>
              <a:cxn ang="0">
                <a:pos x="0" y="0"/>
              </a:cxn>
              <a:cxn ang="0">
                <a:pos x="0" y="1"/>
              </a:cxn>
              <a:cxn ang="0">
                <a:pos x="461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8" y="359"/>
                  <a:pt x="461" y="359"/>
                </a:cubicBezTo>
                <a:cubicBezTo>
                  <a:pt x="264" y="359"/>
                  <a:pt x="103" y="198"/>
                  <a:pt x="103" y="1"/>
                </a:cubicBezTo>
                <a:cubicBezTo>
                  <a:pt x="103" y="1"/>
                  <a:pt x="103" y="1"/>
                  <a:pt x="10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8"/>
          <p:cNvSpPr>
            <a:spLocks/>
          </p:cNvSpPr>
          <p:nvPr/>
        </p:nvSpPr>
        <p:spPr bwMode="auto">
          <a:xfrm>
            <a:off x="2782888" y="1729428"/>
            <a:ext cx="2374900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20" y="461"/>
              </a:cxn>
              <a:cxn ang="0">
                <a:pos x="820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5" y="104"/>
                  <a:pt x="462" y="104"/>
                </a:cubicBezTo>
                <a:cubicBezTo>
                  <a:pt x="659" y="104"/>
                  <a:pt x="820" y="264"/>
                  <a:pt x="820" y="461"/>
                </a:cubicBezTo>
                <a:cubicBezTo>
                  <a:pt x="820" y="461"/>
                  <a:pt x="820" y="461"/>
                  <a:pt x="820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676275" y="1729428"/>
            <a:ext cx="2374900" cy="2381251"/>
            <a:chOff x="676275" y="2281238"/>
            <a:chExt cx="2374900" cy="2381251"/>
          </a:xfrm>
        </p:grpSpPr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676275" y="3470276"/>
              <a:ext cx="2374900" cy="1192213"/>
            </a:xfrm>
            <a:custGeom>
              <a:avLst/>
              <a:gdLst/>
              <a:ahLst/>
              <a:cxnLst>
                <a:cxn ang="0">
                  <a:pos x="819" y="1"/>
                </a:cxn>
                <a:cxn ang="0">
                  <a:pos x="462" y="359"/>
                </a:cxn>
                <a:cxn ang="0">
                  <a:pos x="104" y="1"/>
                </a:cxn>
                <a:cxn ang="0">
                  <a:pos x="104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462" y="462"/>
                </a:cxn>
                <a:cxn ang="0">
                  <a:pos x="923" y="1"/>
                </a:cxn>
                <a:cxn ang="0">
                  <a:pos x="923" y="0"/>
                </a:cxn>
                <a:cxn ang="0">
                  <a:pos x="819" y="0"/>
                </a:cxn>
                <a:cxn ang="0">
                  <a:pos x="819" y="1"/>
                </a:cxn>
              </a:cxnLst>
              <a:rect l="0" t="0" r="r" b="b"/>
              <a:pathLst>
                <a:path w="923" h="462">
                  <a:moveTo>
                    <a:pt x="819" y="1"/>
                  </a:moveTo>
                  <a:cubicBezTo>
                    <a:pt x="819" y="198"/>
                    <a:pt x="659" y="359"/>
                    <a:pt x="462" y="359"/>
                  </a:cubicBezTo>
                  <a:cubicBezTo>
                    <a:pt x="264" y="359"/>
                    <a:pt x="104" y="198"/>
                    <a:pt x="104" y="1"/>
                  </a:cubicBezTo>
                  <a:cubicBezTo>
                    <a:pt x="104" y="1"/>
                    <a:pt x="104" y="1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55"/>
                    <a:pt x="207" y="462"/>
                    <a:pt x="462" y="462"/>
                  </a:cubicBezTo>
                  <a:cubicBezTo>
                    <a:pt x="716" y="462"/>
                    <a:pt x="923" y="255"/>
                    <a:pt x="923" y="1"/>
                  </a:cubicBezTo>
                  <a:cubicBezTo>
                    <a:pt x="923" y="1"/>
                    <a:pt x="923" y="1"/>
                    <a:pt x="923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1"/>
                    <a:pt x="819" y="1"/>
                    <a:pt x="819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676275" y="2281238"/>
              <a:ext cx="2374900" cy="1189038"/>
            </a:xfrm>
            <a:custGeom>
              <a:avLst/>
              <a:gdLst/>
              <a:ahLst/>
              <a:cxnLst>
                <a:cxn ang="0">
                  <a:pos x="462" y="0"/>
                </a:cxn>
                <a:cxn ang="0">
                  <a:pos x="0" y="461"/>
                </a:cxn>
                <a:cxn ang="0">
                  <a:pos x="104" y="461"/>
                </a:cxn>
                <a:cxn ang="0">
                  <a:pos x="462" y="104"/>
                </a:cxn>
                <a:cxn ang="0">
                  <a:pos x="819" y="461"/>
                </a:cxn>
                <a:cxn ang="0">
                  <a:pos x="923" y="461"/>
                </a:cxn>
                <a:cxn ang="0">
                  <a:pos x="462" y="0"/>
                </a:cxn>
              </a:cxnLst>
              <a:rect l="0" t="0" r="r" b="b"/>
              <a:pathLst>
                <a:path w="923" h="461">
                  <a:moveTo>
                    <a:pt x="462" y="0"/>
                  </a:moveTo>
                  <a:cubicBezTo>
                    <a:pt x="207" y="0"/>
                    <a:pt x="0" y="207"/>
                    <a:pt x="0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264"/>
                    <a:pt x="264" y="104"/>
                    <a:pt x="462" y="104"/>
                  </a:cubicBezTo>
                  <a:cubicBezTo>
                    <a:pt x="659" y="104"/>
                    <a:pt x="819" y="264"/>
                    <a:pt x="819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207"/>
                    <a:pt x="716" y="0"/>
                    <a:pt x="46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11"/>
          <p:cNvSpPr>
            <a:spLocks/>
          </p:cNvSpPr>
          <p:nvPr/>
        </p:nvSpPr>
        <p:spPr bwMode="auto">
          <a:xfrm>
            <a:off x="9107488" y="1729428"/>
            <a:ext cx="2376488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2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rgbClr val="192F4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2"/>
          <p:cNvSpPr>
            <a:spLocks/>
          </p:cNvSpPr>
          <p:nvPr/>
        </p:nvSpPr>
        <p:spPr bwMode="auto">
          <a:xfrm>
            <a:off x="7000875" y="2918466"/>
            <a:ext cx="2374900" cy="1192213"/>
          </a:xfrm>
          <a:custGeom>
            <a:avLst/>
            <a:gdLst/>
            <a:ahLst/>
            <a:cxnLst>
              <a:cxn ang="0">
                <a:pos x="461" y="358"/>
              </a:cxn>
              <a:cxn ang="0">
                <a:pos x="104" y="0"/>
              </a:cxn>
              <a:cxn ang="0">
                <a:pos x="0" y="0"/>
              </a:cxn>
              <a:cxn ang="0">
                <a:pos x="461" y="462"/>
              </a:cxn>
              <a:cxn ang="0">
                <a:pos x="923" y="0"/>
              </a:cxn>
              <a:cxn ang="0">
                <a:pos x="819" y="0"/>
              </a:cxn>
              <a:cxn ang="0">
                <a:pos x="461" y="358"/>
              </a:cxn>
            </a:cxnLst>
            <a:rect l="0" t="0" r="r" b="b"/>
            <a:pathLst>
              <a:path w="923" h="462">
                <a:moveTo>
                  <a:pt x="461" y="358"/>
                </a:moveTo>
                <a:cubicBezTo>
                  <a:pt x="264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98"/>
                  <a:pt x="658" y="358"/>
                  <a:pt x="461" y="358"/>
                </a:cubicBezTo>
                <a:close/>
              </a:path>
            </a:pathLst>
          </a:custGeom>
          <a:solidFill>
            <a:srgbClr val="F5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3"/>
          <p:cNvSpPr>
            <a:spLocks/>
          </p:cNvSpPr>
          <p:nvPr/>
        </p:nvSpPr>
        <p:spPr bwMode="auto">
          <a:xfrm>
            <a:off x="48926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103" y="461"/>
              </a:cxn>
              <a:cxn ang="0">
                <a:pos x="461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3" y="461"/>
                  <a:pt x="103" y="461"/>
                  <a:pt x="103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8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2" y="207"/>
                  <a:pt x="715" y="0"/>
                  <a:pt x="46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4"/>
          <p:cNvSpPr>
            <a:spLocks/>
          </p:cNvSpPr>
          <p:nvPr/>
        </p:nvSpPr>
        <p:spPr bwMode="auto">
          <a:xfrm>
            <a:off x="2782888" y="2918466"/>
            <a:ext cx="2374900" cy="1192213"/>
          </a:xfrm>
          <a:custGeom>
            <a:avLst/>
            <a:gdLst/>
            <a:ahLst/>
            <a:cxnLst>
              <a:cxn ang="0">
                <a:pos x="462" y="358"/>
              </a:cxn>
              <a:cxn ang="0">
                <a:pos x="104" y="0"/>
              </a:cxn>
              <a:cxn ang="0">
                <a:pos x="0" y="0"/>
              </a:cxn>
              <a:cxn ang="0">
                <a:pos x="462" y="462"/>
              </a:cxn>
              <a:cxn ang="0">
                <a:pos x="923" y="0"/>
              </a:cxn>
              <a:cxn ang="0">
                <a:pos x="820" y="0"/>
              </a:cxn>
              <a:cxn ang="0">
                <a:pos x="462" y="358"/>
              </a:cxn>
            </a:cxnLst>
            <a:rect l="0" t="0" r="r" b="b"/>
            <a:pathLst>
              <a:path w="923" h="462">
                <a:moveTo>
                  <a:pt x="462" y="358"/>
                </a:moveTo>
                <a:cubicBezTo>
                  <a:pt x="265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20" y="0"/>
                  <a:pt x="820" y="0"/>
                  <a:pt x="820" y="0"/>
                </a:cubicBezTo>
                <a:cubicBezTo>
                  <a:pt x="819" y="198"/>
                  <a:pt x="659" y="358"/>
                  <a:pt x="462" y="3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05730" y="2442118"/>
            <a:ext cx="715541" cy="98772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21000"/>
          </a:blip>
          <a:stretch>
            <a:fillRect/>
          </a:stretch>
        </p:blipFill>
        <p:spPr>
          <a:xfrm>
            <a:off x="1480305" y="2519873"/>
            <a:ext cx="716366" cy="902706"/>
          </a:xfrm>
          <a:prstGeom prst="rect">
            <a:avLst/>
          </a:prstGeom>
        </p:spPr>
      </p:pic>
      <p:sp>
        <p:nvSpPr>
          <p:cNvPr id="27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Violence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b="0" dirty="0" smtClean="0">
                <a:solidFill>
                  <a:schemeClr val="bg1">
                    <a:lumMod val="95000"/>
                  </a:schemeClr>
                </a:solidFill>
              </a:rPr>
              <a:t>and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Cultural Competence</a:t>
            </a:r>
            <a:endParaRPr lang="en-US" b="0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5">
            <a:lum bright="87000" contrast="-99000"/>
          </a:blip>
          <a:stretch>
            <a:fillRect/>
          </a:stretch>
        </p:blipFill>
        <p:spPr>
          <a:xfrm>
            <a:off x="5668635" y="2490521"/>
            <a:ext cx="822979" cy="73354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6">
            <a:alphaModFix amt="10000"/>
            <a:lum bright="-17000" contrast="-70000"/>
          </a:blip>
          <a:stretch>
            <a:fillRect/>
          </a:stretch>
        </p:blipFill>
        <p:spPr>
          <a:xfrm>
            <a:off x="3453665" y="2331532"/>
            <a:ext cx="1012502" cy="1097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948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>
          <a:xfrm>
            <a:off x="-12145" y="296268"/>
            <a:ext cx="9413319" cy="1010044"/>
            <a:chOff x="-2619" y="296268"/>
            <a:chExt cx="7569864" cy="1010044"/>
          </a:xfrm>
        </p:grpSpPr>
        <p:sp>
          <p:nvSpPr>
            <p:cNvPr id="33" name="Rectangle 8"/>
            <p:cNvSpPr/>
            <p:nvPr/>
          </p:nvSpPr>
          <p:spPr>
            <a:xfrm>
              <a:off x="-2619" y="1260593"/>
              <a:ext cx="6895393" cy="45719"/>
            </a:xfrm>
            <a:custGeom>
              <a:avLst/>
              <a:gdLst>
                <a:gd name="connsiteX0" fmla="*/ 0 w 5170811"/>
                <a:gd name="connsiteY0" fmla="*/ 0 h 45719"/>
                <a:gd name="connsiteX1" fmla="*/ 5170811 w 5170811"/>
                <a:gd name="connsiteY1" fmla="*/ 0 h 45719"/>
                <a:gd name="connsiteX2" fmla="*/ 5170811 w 5170811"/>
                <a:gd name="connsiteY2" fmla="*/ 45719 h 45719"/>
                <a:gd name="connsiteX3" fmla="*/ 0 w 5170811"/>
                <a:gd name="connsiteY3" fmla="*/ 45719 h 45719"/>
                <a:gd name="connsiteX4" fmla="*/ 0 w 5170811"/>
                <a:gd name="connsiteY4" fmla="*/ 0 h 45719"/>
                <a:gd name="connsiteX0" fmla="*/ 0 w 5170811"/>
                <a:gd name="connsiteY0" fmla="*/ 0 h 45719"/>
                <a:gd name="connsiteX1" fmla="*/ 5170811 w 5170811"/>
                <a:gd name="connsiteY1" fmla="*/ 0 h 45719"/>
                <a:gd name="connsiteX2" fmla="*/ 5148326 w 5170811"/>
                <a:gd name="connsiteY2" fmla="*/ 40722 h 45719"/>
                <a:gd name="connsiteX3" fmla="*/ 0 w 5170811"/>
                <a:gd name="connsiteY3" fmla="*/ 45719 h 45719"/>
                <a:gd name="connsiteX4" fmla="*/ 0 w 5170811"/>
                <a:gd name="connsiteY4" fmla="*/ 0 h 4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0811" h="45719">
                  <a:moveTo>
                    <a:pt x="0" y="0"/>
                  </a:moveTo>
                  <a:lnTo>
                    <a:pt x="5170811" y="0"/>
                  </a:lnTo>
                  <a:lnTo>
                    <a:pt x="5148326" y="40722"/>
                  </a:lnTo>
                  <a:lnTo>
                    <a:pt x="0" y="45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1B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4" name="Rectangle 1"/>
            <p:cNvSpPr/>
            <p:nvPr/>
          </p:nvSpPr>
          <p:spPr>
            <a:xfrm flipH="1">
              <a:off x="-2" y="296268"/>
              <a:ext cx="7567247" cy="986631"/>
            </a:xfrm>
            <a:custGeom>
              <a:avLst/>
              <a:gdLst>
                <a:gd name="connsiteX0" fmla="*/ 0 w 9163574"/>
                <a:gd name="connsiteY0" fmla="*/ 0 h 1249960"/>
                <a:gd name="connsiteX1" fmla="*/ 9163574 w 9163574"/>
                <a:gd name="connsiteY1" fmla="*/ 0 h 1249960"/>
                <a:gd name="connsiteX2" fmla="*/ 9163574 w 9163574"/>
                <a:gd name="connsiteY2" fmla="*/ 1249960 h 1249960"/>
                <a:gd name="connsiteX3" fmla="*/ 0 w 9163574"/>
                <a:gd name="connsiteY3" fmla="*/ 1249960 h 1249960"/>
                <a:gd name="connsiteX4" fmla="*/ 0 w 9163574"/>
                <a:gd name="connsiteY4" fmla="*/ 0 h 1249960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882428 w 10046002"/>
                <a:gd name="connsiteY3" fmla="*/ 1278735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1000725 w 10046002"/>
                <a:gd name="connsiteY3" fmla="*/ 1253157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36411 w 10046002"/>
                <a:gd name="connsiteY1" fmla="*/ 3198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46002" h="1278735">
                  <a:moveTo>
                    <a:pt x="0" y="0"/>
                  </a:moveTo>
                  <a:lnTo>
                    <a:pt x="10036411" y="3198"/>
                  </a:lnTo>
                  <a:lnTo>
                    <a:pt x="10046002" y="1278735"/>
                  </a:lnTo>
                  <a:lnTo>
                    <a:pt x="904809" y="12723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130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5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Picture 5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/>
          <p:cNvSpPr/>
          <p:nvPr/>
        </p:nvSpPr>
        <p:spPr>
          <a:xfrm>
            <a:off x="320474" y="4136252"/>
            <a:ext cx="285293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Work Recap, Chapter Overview</a:t>
            </a:r>
            <a:r>
              <a:rPr lang="en-US" sz="2400" dirty="0" smtClean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ncie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137227" y="4116879"/>
            <a:ext cx="16722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 Violenc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919818" y="4116879"/>
            <a:ext cx="24581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 Building: Cultural Competenc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7544156" y="4116879"/>
            <a:ext cx="14594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a Case</a:t>
            </a:r>
          </a:p>
        </p:txBody>
      </p:sp>
      <p:sp>
        <p:nvSpPr>
          <p:cNvPr id="15" name="Rectangle 14"/>
          <p:cNvSpPr/>
          <p:nvPr/>
        </p:nvSpPr>
        <p:spPr>
          <a:xfrm>
            <a:off x="9011149" y="4078779"/>
            <a:ext cx="299987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Wrap-Up: Review</a:t>
            </a:r>
            <a:r>
              <a:rPr lang="en-US" sz="2400" dirty="0" smtClean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 </a:t>
            </a:r>
          </a:p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7: Pre-Work</a:t>
            </a:r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939431" y="2514061"/>
            <a:ext cx="809435" cy="812462"/>
          </a:xfrm>
          <a:prstGeom prst="rect">
            <a:avLst/>
          </a:prstGeom>
        </p:spPr>
      </p:pic>
      <p:sp>
        <p:nvSpPr>
          <p:cNvPr id="1029" name="Freeform 5"/>
          <p:cNvSpPr>
            <a:spLocks/>
          </p:cNvSpPr>
          <p:nvPr/>
        </p:nvSpPr>
        <p:spPr bwMode="auto">
          <a:xfrm>
            <a:off x="9107488" y="2918466"/>
            <a:ext cx="2376488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2" y="358"/>
              </a:cxn>
              <a:cxn ang="0">
                <a:pos x="104" y="1"/>
              </a:cxn>
              <a:cxn ang="0">
                <a:pos x="104" y="0"/>
              </a:cxn>
              <a:cxn ang="0">
                <a:pos x="0" y="0"/>
              </a:cxn>
              <a:cxn ang="0">
                <a:pos x="0" y="1"/>
              </a:cxn>
              <a:cxn ang="0">
                <a:pos x="462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9" y="358"/>
                  <a:pt x="462" y="358"/>
                </a:cubicBezTo>
                <a:cubicBezTo>
                  <a:pt x="264" y="358"/>
                  <a:pt x="104" y="198"/>
                  <a:pt x="104" y="1"/>
                </a:cubicBezTo>
                <a:cubicBezTo>
                  <a:pt x="104" y="1"/>
                  <a:pt x="104" y="1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0" name="Freeform 6"/>
          <p:cNvSpPr>
            <a:spLocks/>
          </p:cNvSpPr>
          <p:nvPr/>
        </p:nvSpPr>
        <p:spPr bwMode="auto">
          <a:xfrm>
            <a:off x="70008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1" y="104"/>
              </a:cxn>
              <a:cxn ang="0">
                <a:pos x="819" y="461"/>
              </a:cxn>
              <a:cxn ang="0">
                <a:pos x="819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819" y="461"/>
                  <a:pt x="819" y="461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1" y="0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1" name="Freeform 7"/>
          <p:cNvSpPr>
            <a:spLocks/>
          </p:cNvSpPr>
          <p:nvPr/>
        </p:nvSpPr>
        <p:spPr bwMode="auto">
          <a:xfrm>
            <a:off x="4892675" y="2918466"/>
            <a:ext cx="2374900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1" y="359"/>
              </a:cxn>
              <a:cxn ang="0">
                <a:pos x="103" y="1"/>
              </a:cxn>
              <a:cxn ang="0">
                <a:pos x="103" y="0"/>
              </a:cxn>
              <a:cxn ang="0">
                <a:pos x="0" y="0"/>
              </a:cxn>
              <a:cxn ang="0">
                <a:pos x="0" y="1"/>
              </a:cxn>
              <a:cxn ang="0">
                <a:pos x="461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8" y="359"/>
                  <a:pt x="461" y="359"/>
                </a:cubicBezTo>
                <a:cubicBezTo>
                  <a:pt x="264" y="359"/>
                  <a:pt x="103" y="198"/>
                  <a:pt x="103" y="1"/>
                </a:cubicBezTo>
                <a:cubicBezTo>
                  <a:pt x="103" y="1"/>
                  <a:pt x="103" y="1"/>
                  <a:pt x="10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2" name="Freeform 8"/>
          <p:cNvSpPr>
            <a:spLocks/>
          </p:cNvSpPr>
          <p:nvPr/>
        </p:nvSpPr>
        <p:spPr bwMode="auto">
          <a:xfrm>
            <a:off x="2782888" y="1729428"/>
            <a:ext cx="2374900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20" y="461"/>
              </a:cxn>
              <a:cxn ang="0">
                <a:pos x="820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5" y="104"/>
                  <a:pt x="462" y="104"/>
                </a:cubicBezTo>
                <a:cubicBezTo>
                  <a:pt x="659" y="104"/>
                  <a:pt x="820" y="264"/>
                  <a:pt x="820" y="461"/>
                </a:cubicBezTo>
                <a:cubicBezTo>
                  <a:pt x="820" y="461"/>
                  <a:pt x="820" y="461"/>
                  <a:pt x="820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7" name="Group 26"/>
          <p:cNvGrpSpPr/>
          <p:nvPr/>
        </p:nvGrpSpPr>
        <p:grpSpPr>
          <a:xfrm>
            <a:off x="676275" y="1729428"/>
            <a:ext cx="2374900" cy="2381251"/>
            <a:chOff x="676275" y="2281238"/>
            <a:chExt cx="2374900" cy="238125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525636" y="2984716"/>
              <a:ext cx="733480" cy="924273"/>
            </a:xfrm>
            <a:prstGeom prst="rect">
              <a:avLst/>
            </a:prstGeom>
          </p:spPr>
        </p:pic>
        <p:sp>
          <p:nvSpPr>
            <p:cNvPr id="1033" name="Freeform 9"/>
            <p:cNvSpPr>
              <a:spLocks/>
            </p:cNvSpPr>
            <p:nvPr/>
          </p:nvSpPr>
          <p:spPr bwMode="auto">
            <a:xfrm>
              <a:off x="676275" y="3470276"/>
              <a:ext cx="2374900" cy="1192213"/>
            </a:xfrm>
            <a:custGeom>
              <a:avLst/>
              <a:gdLst/>
              <a:ahLst/>
              <a:cxnLst>
                <a:cxn ang="0">
                  <a:pos x="819" y="1"/>
                </a:cxn>
                <a:cxn ang="0">
                  <a:pos x="462" y="359"/>
                </a:cxn>
                <a:cxn ang="0">
                  <a:pos x="104" y="1"/>
                </a:cxn>
                <a:cxn ang="0">
                  <a:pos x="104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462" y="462"/>
                </a:cxn>
                <a:cxn ang="0">
                  <a:pos x="923" y="1"/>
                </a:cxn>
                <a:cxn ang="0">
                  <a:pos x="923" y="0"/>
                </a:cxn>
                <a:cxn ang="0">
                  <a:pos x="819" y="0"/>
                </a:cxn>
                <a:cxn ang="0">
                  <a:pos x="819" y="1"/>
                </a:cxn>
              </a:cxnLst>
              <a:rect l="0" t="0" r="r" b="b"/>
              <a:pathLst>
                <a:path w="923" h="462">
                  <a:moveTo>
                    <a:pt x="819" y="1"/>
                  </a:moveTo>
                  <a:cubicBezTo>
                    <a:pt x="819" y="198"/>
                    <a:pt x="659" y="359"/>
                    <a:pt x="462" y="359"/>
                  </a:cubicBezTo>
                  <a:cubicBezTo>
                    <a:pt x="264" y="359"/>
                    <a:pt x="104" y="198"/>
                    <a:pt x="104" y="1"/>
                  </a:cubicBezTo>
                  <a:cubicBezTo>
                    <a:pt x="104" y="1"/>
                    <a:pt x="104" y="1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55"/>
                    <a:pt x="207" y="462"/>
                    <a:pt x="462" y="462"/>
                  </a:cubicBezTo>
                  <a:cubicBezTo>
                    <a:pt x="716" y="462"/>
                    <a:pt x="923" y="255"/>
                    <a:pt x="923" y="1"/>
                  </a:cubicBezTo>
                  <a:cubicBezTo>
                    <a:pt x="923" y="1"/>
                    <a:pt x="923" y="1"/>
                    <a:pt x="923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1"/>
                    <a:pt x="819" y="1"/>
                    <a:pt x="819" y="1"/>
                  </a:cubicBezTo>
                  <a:close/>
                </a:path>
              </a:pathLst>
            </a:custGeom>
            <a:solidFill>
              <a:srgbClr val="BBCFE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34" name="Freeform 10"/>
            <p:cNvSpPr>
              <a:spLocks/>
            </p:cNvSpPr>
            <p:nvPr/>
          </p:nvSpPr>
          <p:spPr bwMode="auto">
            <a:xfrm>
              <a:off x="676275" y="2281238"/>
              <a:ext cx="2374900" cy="1189038"/>
            </a:xfrm>
            <a:custGeom>
              <a:avLst/>
              <a:gdLst/>
              <a:ahLst/>
              <a:cxnLst>
                <a:cxn ang="0">
                  <a:pos x="462" y="0"/>
                </a:cxn>
                <a:cxn ang="0">
                  <a:pos x="0" y="461"/>
                </a:cxn>
                <a:cxn ang="0">
                  <a:pos x="104" y="461"/>
                </a:cxn>
                <a:cxn ang="0">
                  <a:pos x="462" y="104"/>
                </a:cxn>
                <a:cxn ang="0">
                  <a:pos x="819" y="461"/>
                </a:cxn>
                <a:cxn ang="0">
                  <a:pos x="923" y="461"/>
                </a:cxn>
                <a:cxn ang="0">
                  <a:pos x="462" y="0"/>
                </a:cxn>
              </a:cxnLst>
              <a:rect l="0" t="0" r="r" b="b"/>
              <a:pathLst>
                <a:path w="923" h="461">
                  <a:moveTo>
                    <a:pt x="462" y="0"/>
                  </a:moveTo>
                  <a:cubicBezTo>
                    <a:pt x="207" y="0"/>
                    <a:pt x="0" y="207"/>
                    <a:pt x="0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264"/>
                    <a:pt x="264" y="104"/>
                    <a:pt x="462" y="104"/>
                  </a:cubicBezTo>
                  <a:cubicBezTo>
                    <a:pt x="659" y="104"/>
                    <a:pt x="819" y="264"/>
                    <a:pt x="819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207"/>
                    <a:pt x="716" y="0"/>
                    <a:pt x="462" y="0"/>
                  </a:cubicBezTo>
                  <a:close/>
                </a:path>
              </a:pathLst>
            </a:custGeom>
            <a:solidFill>
              <a:srgbClr val="192F4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35" name="Freeform 11"/>
          <p:cNvSpPr>
            <a:spLocks/>
          </p:cNvSpPr>
          <p:nvPr/>
        </p:nvSpPr>
        <p:spPr bwMode="auto">
          <a:xfrm>
            <a:off x="9107488" y="1729428"/>
            <a:ext cx="2376488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2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rgbClr val="192F4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6" name="Freeform 12"/>
          <p:cNvSpPr>
            <a:spLocks/>
          </p:cNvSpPr>
          <p:nvPr/>
        </p:nvSpPr>
        <p:spPr bwMode="auto">
          <a:xfrm>
            <a:off x="7000875" y="2918466"/>
            <a:ext cx="2374900" cy="1192213"/>
          </a:xfrm>
          <a:custGeom>
            <a:avLst/>
            <a:gdLst/>
            <a:ahLst/>
            <a:cxnLst>
              <a:cxn ang="0">
                <a:pos x="461" y="358"/>
              </a:cxn>
              <a:cxn ang="0">
                <a:pos x="104" y="0"/>
              </a:cxn>
              <a:cxn ang="0">
                <a:pos x="0" y="0"/>
              </a:cxn>
              <a:cxn ang="0">
                <a:pos x="461" y="462"/>
              </a:cxn>
              <a:cxn ang="0">
                <a:pos x="923" y="0"/>
              </a:cxn>
              <a:cxn ang="0">
                <a:pos x="819" y="0"/>
              </a:cxn>
              <a:cxn ang="0">
                <a:pos x="461" y="358"/>
              </a:cxn>
            </a:cxnLst>
            <a:rect l="0" t="0" r="r" b="b"/>
            <a:pathLst>
              <a:path w="923" h="462">
                <a:moveTo>
                  <a:pt x="461" y="358"/>
                </a:moveTo>
                <a:cubicBezTo>
                  <a:pt x="264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98"/>
                  <a:pt x="658" y="358"/>
                  <a:pt x="461" y="358"/>
                </a:cubicBezTo>
                <a:close/>
              </a:path>
            </a:pathLst>
          </a:custGeom>
          <a:solidFill>
            <a:srgbClr val="F5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7" name="Freeform 13"/>
          <p:cNvSpPr>
            <a:spLocks/>
          </p:cNvSpPr>
          <p:nvPr/>
        </p:nvSpPr>
        <p:spPr bwMode="auto">
          <a:xfrm>
            <a:off x="48926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103" y="461"/>
              </a:cxn>
              <a:cxn ang="0">
                <a:pos x="461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3" y="461"/>
                  <a:pt x="103" y="461"/>
                  <a:pt x="103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8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2" y="207"/>
                  <a:pt x="715" y="0"/>
                  <a:pt x="461" y="0"/>
                </a:cubicBezTo>
                <a:close/>
              </a:path>
            </a:pathLst>
          </a:custGeom>
          <a:solidFill>
            <a:srgbClr val="192F4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38" name="Freeform 14"/>
          <p:cNvSpPr>
            <a:spLocks/>
          </p:cNvSpPr>
          <p:nvPr/>
        </p:nvSpPr>
        <p:spPr bwMode="auto">
          <a:xfrm>
            <a:off x="2782888" y="2918466"/>
            <a:ext cx="2374900" cy="1192213"/>
          </a:xfrm>
          <a:custGeom>
            <a:avLst/>
            <a:gdLst/>
            <a:ahLst/>
            <a:cxnLst>
              <a:cxn ang="0">
                <a:pos x="462" y="358"/>
              </a:cxn>
              <a:cxn ang="0">
                <a:pos x="104" y="0"/>
              </a:cxn>
              <a:cxn ang="0">
                <a:pos x="0" y="0"/>
              </a:cxn>
              <a:cxn ang="0">
                <a:pos x="462" y="462"/>
              </a:cxn>
              <a:cxn ang="0">
                <a:pos x="923" y="0"/>
              </a:cxn>
              <a:cxn ang="0">
                <a:pos x="820" y="0"/>
              </a:cxn>
              <a:cxn ang="0">
                <a:pos x="462" y="358"/>
              </a:cxn>
            </a:cxnLst>
            <a:rect l="0" t="0" r="r" b="b"/>
            <a:pathLst>
              <a:path w="923" h="462">
                <a:moveTo>
                  <a:pt x="462" y="358"/>
                </a:moveTo>
                <a:cubicBezTo>
                  <a:pt x="265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20" y="0"/>
                  <a:pt x="820" y="0"/>
                  <a:pt x="820" y="0"/>
                </a:cubicBezTo>
                <a:cubicBezTo>
                  <a:pt x="819" y="198"/>
                  <a:pt x="659" y="358"/>
                  <a:pt x="462" y="358"/>
                </a:cubicBezTo>
                <a:close/>
              </a:path>
            </a:pathLst>
          </a:custGeom>
          <a:solidFill>
            <a:srgbClr val="F5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Violence, Bias </a:t>
            </a:r>
            <a:r>
              <a:rPr b="0" dirty="0" smtClean="0">
                <a:solidFill>
                  <a:schemeClr val="bg1">
                    <a:lumMod val="95000"/>
                  </a:schemeClr>
                </a:solidFill>
              </a:rPr>
              <a:t>and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Cultural Competence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805730" y="2442118"/>
            <a:ext cx="715541" cy="987723"/>
          </a:xfrm>
          <a:prstGeom prst="rect">
            <a:avLst/>
          </a:prstGeom>
        </p:spPr>
      </p:pic>
      <p:pic>
        <p:nvPicPr>
          <p:cNvPr id="36" name="Picture 3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668635" y="2490521"/>
            <a:ext cx="822979" cy="733540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53665" y="2331532"/>
            <a:ext cx="1012502" cy="1097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22442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The Amarillo Case</a:t>
            </a:r>
          </a:p>
        </p:txBody>
      </p:sp>
      <p:sp>
        <p:nvSpPr>
          <p:cNvPr id="5" name="Rectangle 1"/>
          <p:cNvSpPr/>
          <p:nvPr/>
        </p:nvSpPr>
        <p:spPr>
          <a:xfrm rot="10800000" flipH="1">
            <a:off x="2519820" y="3530071"/>
            <a:ext cx="9672180" cy="986631"/>
          </a:xfrm>
          <a:custGeom>
            <a:avLst/>
            <a:gdLst>
              <a:gd name="connsiteX0" fmla="*/ 0 w 9163574"/>
              <a:gd name="connsiteY0" fmla="*/ 0 h 1249960"/>
              <a:gd name="connsiteX1" fmla="*/ 9163574 w 9163574"/>
              <a:gd name="connsiteY1" fmla="*/ 0 h 1249960"/>
              <a:gd name="connsiteX2" fmla="*/ 9163574 w 9163574"/>
              <a:gd name="connsiteY2" fmla="*/ 1249960 h 1249960"/>
              <a:gd name="connsiteX3" fmla="*/ 0 w 9163574"/>
              <a:gd name="connsiteY3" fmla="*/ 1249960 h 1249960"/>
              <a:gd name="connsiteX4" fmla="*/ 0 w 9163574"/>
              <a:gd name="connsiteY4" fmla="*/ 0 h 1249960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882428 w 10046002"/>
              <a:gd name="connsiteY3" fmla="*/ 1278735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1000725 w 10046002"/>
              <a:gd name="connsiteY3" fmla="*/ 1253157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904809 w 10046002"/>
              <a:gd name="connsiteY3" fmla="*/ 1272340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36411 w 10046002"/>
              <a:gd name="connsiteY1" fmla="*/ 3198 h 1278735"/>
              <a:gd name="connsiteX2" fmla="*/ 10046002 w 10046002"/>
              <a:gd name="connsiteY2" fmla="*/ 1278735 h 1278735"/>
              <a:gd name="connsiteX3" fmla="*/ 904809 w 10046002"/>
              <a:gd name="connsiteY3" fmla="*/ 1272340 h 1278735"/>
              <a:gd name="connsiteX4" fmla="*/ 0 w 10046002"/>
              <a:gd name="connsiteY4" fmla="*/ 0 h 1278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6002" h="1278735">
                <a:moveTo>
                  <a:pt x="0" y="0"/>
                </a:moveTo>
                <a:lnTo>
                  <a:pt x="10036411" y="3198"/>
                </a:lnTo>
                <a:lnTo>
                  <a:pt x="10046002" y="1278735"/>
                </a:lnTo>
                <a:lnTo>
                  <a:pt x="904809" y="1272340"/>
                </a:lnTo>
                <a:lnTo>
                  <a:pt x="0" y="0"/>
                </a:lnTo>
                <a:close/>
              </a:path>
            </a:pathLst>
          </a:custGeom>
          <a:solidFill>
            <a:srgbClr val="F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305300" y="3582448"/>
            <a:ext cx="7696200" cy="914400"/>
          </a:xfrm>
          <a:prstGeom prst="rect">
            <a:avLst/>
          </a:prstGeom>
          <a:solidFill>
            <a:srgbClr val="F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  <a:buClr>
                <a:srgbClr val="ED1B2E"/>
              </a:buClr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What do you remember about the Amarillo case?</a:t>
            </a:r>
          </a:p>
        </p:txBody>
      </p:sp>
    </p:spTree>
    <p:extLst>
      <p:ext uri="{BB962C8B-B14F-4D97-AF65-F5344CB8AC3E}">
        <p14:creationId xmlns:p14="http://schemas.microsoft.com/office/powerpoint/2010/main" val="33648112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The Amarillo Cas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977900" y="1738638"/>
            <a:ext cx="10735880" cy="4538933"/>
          </a:xfrm>
        </p:spPr>
        <p:txBody>
          <a:bodyPr/>
          <a:lstStyle/>
          <a:p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ly 3 (three years ago): </a:t>
            </a:r>
            <a:endParaRPr lang="en-US" sz="2400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ighbor called police as a result of “loud shouting” in the home of Jose and </a:t>
            </a:r>
            <a:r>
              <a:rPr lang="en-US" sz="2400" dirty="0" err="1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rian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rillo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e found the parents too inebriated to provide a safe home for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ldren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her had bruises and bleeding as a result of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use from her husband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hree children Maria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13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anna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3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Graciela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1,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re first placed together in emergency foster care and then in separat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mes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0505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The Amarillo Cas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10"/>
          </p:nvPr>
        </p:nvSpPr>
        <p:spPr>
          <a:xfrm>
            <a:off x="965200" y="1454158"/>
            <a:ext cx="10974838" cy="4538933"/>
          </a:xfrm>
        </p:spPr>
        <p:txBody>
          <a:bodyPr/>
          <a:lstStyle/>
          <a:p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17 (three years ago): </a:t>
            </a:r>
            <a:endParaRPr lang="en-US" sz="2400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s were advised to attend a substance abuse treatment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r. Amarillo was ordered to attend domestic violence program. Mrs. Amarillo was ordered to attend domestic violence survivors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anna was placed in the same foster home placement as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ciela. 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a remained in group hom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ment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22937" lvl="1" indent="-457200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57338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The Amarillo Case</a:t>
            </a:r>
          </a:p>
        </p:txBody>
      </p:sp>
      <p:sp>
        <p:nvSpPr>
          <p:cNvPr id="7" name="Content Placeholder 1"/>
          <p:cNvSpPr>
            <a:spLocks noGrp="1"/>
          </p:cNvSpPr>
          <p:nvPr>
            <p:ph sz="quarter" idx="10"/>
          </p:nvPr>
        </p:nvSpPr>
        <p:spPr>
          <a:xfrm>
            <a:off x="1066800" y="1789438"/>
            <a:ext cx="10646980" cy="4538933"/>
          </a:xfrm>
        </p:spPr>
        <p:txBody>
          <a:bodyPr/>
          <a:lstStyle/>
          <a:p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3 (</a:t>
            </a:r>
            <a:r>
              <a:rPr lang="en-US" sz="2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o </a:t>
            </a: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ears ago): </a:t>
            </a:r>
            <a:endParaRPr lang="en-US" sz="2400" b="1" dirty="0" smtClean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1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oanna and Graciela Amarillo have been placed in a new foster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tting. 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ster family was willing to serve as a placement for Maria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arillo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a Amarillo had many episodes of running away from the foster families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which she was placed.</a:t>
            </a: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a Amarillo has been placed into a transitional housing center for teenag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irls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charset="2"/>
              <a:buChar char="Ø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department has filed a petition to terminate parental rights as parents did not comply with court-ordered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412924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The Amarillo Cas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977900" y="1852938"/>
            <a:ext cx="10989792" cy="4538933"/>
          </a:xfrm>
        </p:spPr>
        <p:txBody>
          <a:bodyPr/>
          <a:lstStyle/>
          <a:p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gust 9 (two years ago):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al rights wer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inated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26 (two years ago):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a Amarillo was placed in the same foster home as her younger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blings.</a:t>
            </a:r>
          </a:p>
          <a:p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are your recommendations for this case as a CASA/GAL volunteer</a:t>
            </a:r>
            <a:r>
              <a:rPr lang="en-US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  <a:p>
            <a:endParaRPr lang="en-US" sz="2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for the child</a:t>
            </a:r>
          </a:p>
          <a:p>
            <a:pPr marL="457200" indent="-4572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s for the parent</a:t>
            </a:r>
          </a:p>
          <a:p>
            <a:pPr marL="457200" indent="-4572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cement decisions</a:t>
            </a:r>
          </a:p>
          <a:p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Clr>
                <a:srgbClr val="FF0000"/>
              </a:buClr>
              <a:buFont typeface="Wingdings" panose="05000000000000000000" pitchFamily="2" charset="2"/>
              <a:buChar char="ü"/>
            </a:pP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3066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5B0393C3-1CBB-4DC8-B654-1F977C535A6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0781" y="2047057"/>
            <a:ext cx="2195348" cy="304348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510F1F7D-420E-4A7A-ABE5-A8031E49B1BE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9656" y="2047057"/>
            <a:ext cx="2984323" cy="30434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43240560-06AC-4EC0-B17C-68C75B77671B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049" y="2047057"/>
            <a:ext cx="2115523" cy="304235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F452415A-3C17-4B04-9CC0-C039BA51269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77492" y="2047057"/>
            <a:ext cx="2451802" cy="304235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C4943130-6935-4B4C-A806-F4271D5A779B}"/>
              </a:ext>
            </a:extLst>
          </p:cNvPr>
          <p:cNvSpPr/>
          <p:nvPr/>
        </p:nvSpPr>
        <p:spPr>
          <a:xfrm>
            <a:off x="1022111" y="5482561"/>
            <a:ext cx="14594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nn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523F8745-ED07-474A-AD47-DF908A20F299}"/>
              </a:ext>
            </a:extLst>
          </p:cNvPr>
          <p:cNvSpPr/>
          <p:nvPr/>
        </p:nvSpPr>
        <p:spPr>
          <a:xfrm>
            <a:off x="3664765" y="5490444"/>
            <a:ext cx="18273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stion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AAF3F316-E900-43C7-A9D7-71620332484E}"/>
              </a:ext>
            </a:extLst>
          </p:cNvPr>
          <p:cNvSpPr/>
          <p:nvPr/>
        </p:nvSpPr>
        <p:spPr>
          <a:xfrm>
            <a:off x="6613120" y="5481435"/>
            <a:ext cx="18273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ib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98DC3A3B-3EC8-41F8-BA9C-8DDA39F5A2C1}"/>
              </a:ext>
            </a:extLst>
          </p:cNvPr>
          <p:cNvSpPr/>
          <p:nvPr/>
        </p:nvSpPr>
        <p:spPr>
          <a:xfrm>
            <a:off x="9689703" y="5481434"/>
            <a:ext cx="182738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 smtClean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rator</a:t>
            </a:r>
            <a:endParaRPr lang="en-US" sz="2400" dirty="0">
              <a:solidFill>
                <a:srgbClr val="11304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8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F05CA9AE-C747-48ED-9524-F1EA6CE17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The Amarillo Case</a:t>
            </a:r>
          </a:p>
        </p:txBody>
      </p:sp>
    </p:spTree>
    <p:extLst>
      <p:ext uri="{BB962C8B-B14F-4D97-AF65-F5344CB8AC3E}">
        <p14:creationId xmlns:p14="http://schemas.microsoft.com/office/powerpoint/2010/main" val="15194856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738DA652-95DE-4BEA-9C10-34B872D113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2">
            <a:hlinkClick r:id="rId2"/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C7A60820-26BE-4609-BA19-E66E447E20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3036" b="12348"/>
          <a:stretch/>
        </p:blipFill>
        <p:spPr bwMode="auto">
          <a:xfrm>
            <a:off x="-12145" y="1308547"/>
            <a:ext cx="12204145" cy="5566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4D16B40F-1E62-4470-B575-6C8E9DF3AE02}"/>
              </a:ext>
            </a:extLst>
          </p:cNvPr>
          <p:cNvSpPr/>
          <p:nvPr/>
        </p:nvSpPr>
        <p:spPr>
          <a:xfrm>
            <a:off x="1747158" y="3121407"/>
            <a:ext cx="400049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buClr>
                <a:srgbClr val="ED1B2E"/>
              </a:buClr>
            </a:pPr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It’s time to work the case!</a:t>
            </a:r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96A8F058-E3BE-488E-BC25-CADAD00884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The Amarillo Case</a:t>
            </a:r>
          </a:p>
        </p:txBody>
      </p:sp>
    </p:spTree>
    <p:extLst>
      <p:ext uri="{BB962C8B-B14F-4D97-AF65-F5344CB8AC3E}">
        <p14:creationId xmlns:p14="http://schemas.microsoft.com/office/powerpoint/2010/main" val="39635404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12145" y="296268"/>
            <a:ext cx="9857185" cy="1010044"/>
            <a:chOff x="-2619" y="296268"/>
            <a:chExt cx="7569864" cy="1010044"/>
          </a:xfrm>
        </p:grpSpPr>
        <p:sp>
          <p:nvSpPr>
            <p:cNvPr id="9" name="Rectangle 8"/>
            <p:cNvSpPr/>
            <p:nvPr/>
          </p:nvSpPr>
          <p:spPr>
            <a:xfrm>
              <a:off x="-2619" y="1260593"/>
              <a:ext cx="6895393" cy="45719"/>
            </a:xfrm>
            <a:custGeom>
              <a:avLst/>
              <a:gdLst>
                <a:gd name="connsiteX0" fmla="*/ 0 w 5170811"/>
                <a:gd name="connsiteY0" fmla="*/ 0 h 45719"/>
                <a:gd name="connsiteX1" fmla="*/ 5170811 w 5170811"/>
                <a:gd name="connsiteY1" fmla="*/ 0 h 45719"/>
                <a:gd name="connsiteX2" fmla="*/ 5170811 w 5170811"/>
                <a:gd name="connsiteY2" fmla="*/ 45719 h 45719"/>
                <a:gd name="connsiteX3" fmla="*/ 0 w 5170811"/>
                <a:gd name="connsiteY3" fmla="*/ 45719 h 45719"/>
                <a:gd name="connsiteX4" fmla="*/ 0 w 5170811"/>
                <a:gd name="connsiteY4" fmla="*/ 0 h 45719"/>
                <a:gd name="connsiteX0" fmla="*/ 0 w 5170811"/>
                <a:gd name="connsiteY0" fmla="*/ 0 h 45719"/>
                <a:gd name="connsiteX1" fmla="*/ 5170811 w 5170811"/>
                <a:gd name="connsiteY1" fmla="*/ 0 h 45719"/>
                <a:gd name="connsiteX2" fmla="*/ 5148326 w 5170811"/>
                <a:gd name="connsiteY2" fmla="*/ 40722 h 45719"/>
                <a:gd name="connsiteX3" fmla="*/ 0 w 5170811"/>
                <a:gd name="connsiteY3" fmla="*/ 45719 h 45719"/>
                <a:gd name="connsiteX4" fmla="*/ 0 w 5170811"/>
                <a:gd name="connsiteY4" fmla="*/ 0 h 45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70811" h="45719">
                  <a:moveTo>
                    <a:pt x="0" y="0"/>
                  </a:moveTo>
                  <a:lnTo>
                    <a:pt x="5170811" y="0"/>
                  </a:lnTo>
                  <a:lnTo>
                    <a:pt x="5148326" y="40722"/>
                  </a:lnTo>
                  <a:lnTo>
                    <a:pt x="0" y="4571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D1B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0" name="Rectangle 1"/>
            <p:cNvSpPr/>
            <p:nvPr/>
          </p:nvSpPr>
          <p:spPr>
            <a:xfrm flipH="1">
              <a:off x="-2" y="296268"/>
              <a:ext cx="7567247" cy="986631"/>
            </a:xfrm>
            <a:custGeom>
              <a:avLst/>
              <a:gdLst>
                <a:gd name="connsiteX0" fmla="*/ 0 w 9163574"/>
                <a:gd name="connsiteY0" fmla="*/ 0 h 1249960"/>
                <a:gd name="connsiteX1" fmla="*/ 9163574 w 9163574"/>
                <a:gd name="connsiteY1" fmla="*/ 0 h 1249960"/>
                <a:gd name="connsiteX2" fmla="*/ 9163574 w 9163574"/>
                <a:gd name="connsiteY2" fmla="*/ 1249960 h 1249960"/>
                <a:gd name="connsiteX3" fmla="*/ 0 w 9163574"/>
                <a:gd name="connsiteY3" fmla="*/ 1249960 h 1249960"/>
                <a:gd name="connsiteX4" fmla="*/ 0 w 9163574"/>
                <a:gd name="connsiteY4" fmla="*/ 0 h 1249960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882428 w 10046002"/>
                <a:gd name="connsiteY3" fmla="*/ 1278735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1000725 w 10046002"/>
                <a:gd name="connsiteY3" fmla="*/ 1253157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36411 w 10046002"/>
                <a:gd name="connsiteY1" fmla="*/ 3198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46002" h="1278735">
                  <a:moveTo>
                    <a:pt x="0" y="0"/>
                  </a:moveTo>
                  <a:lnTo>
                    <a:pt x="10036411" y="3198"/>
                  </a:lnTo>
                  <a:lnTo>
                    <a:pt x="10046002" y="1278735"/>
                  </a:lnTo>
                  <a:lnTo>
                    <a:pt x="904809" y="12723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130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pter </a:t>
            </a:r>
            <a:r>
              <a:rPr lang="en-US" dirty="0" smtClean="0"/>
              <a:t>6:</a:t>
            </a:r>
            <a:r>
              <a:rPr lang="en-US" dirty="0"/>
              <a:t/>
            </a:r>
            <a:br>
              <a:rPr lang="en-US" dirty="0"/>
            </a:br>
            <a:r>
              <a:rPr lang="en-US" b="0" dirty="0" smtClean="0">
                <a:solidFill>
                  <a:schemeClr val="bg1"/>
                </a:solidFill>
              </a:rPr>
              <a:t>Amarillo Case</a:t>
            </a:r>
            <a:endParaRPr lang="en-US" b="0" dirty="0">
              <a:solidFill>
                <a:schemeClr val="bg1"/>
              </a:solidFill>
            </a:endParaRPr>
          </a:p>
        </p:txBody>
      </p:sp>
      <p:sp>
        <p:nvSpPr>
          <p:cNvPr id="19" name="Freeform 78"/>
          <p:cNvSpPr>
            <a:spLocks noEditPoints="1"/>
          </p:cNvSpPr>
          <p:nvPr/>
        </p:nvSpPr>
        <p:spPr bwMode="auto">
          <a:xfrm rot="14808680">
            <a:off x="3469698" y="3650240"/>
            <a:ext cx="823516" cy="738377"/>
          </a:xfrm>
          <a:custGeom>
            <a:avLst/>
            <a:gdLst>
              <a:gd name="T0" fmla="*/ 172 w 241"/>
              <a:gd name="T1" fmla="*/ 0 h 234"/>
              <a:gd name="T2" fmla="*/ 102 w 241"/>
              <a:gd name="T3" fmla="*/ 50 h 234"/>
              <a:gd name="T4" fmla="*/ 102 w 241"/>
              <a:gd name="T5" fmla="*/ 50 h 234"/>
              <a:gd name="T6" fmla="*/ 26 w 241"/>
              <a:gd name="T7" fmla="*/ 126 h 234"/>
              <a:gd name="T8" fmla="*/ 2 w 241"/>
              <a:gd name="T9" fmla="*/ 201 h 234"/>
              <a:gd name="T10" fmla="*/ 26 w 241"/>
              <a:gd name="T11" fmla="*/ 234 h 234"/>
              <a:gd name="T12" fmla="*/ 96 w 241"/>
              <a:gd name="T13" fmla="*/ 216 h 234"/>
              <a:gd name="T14" fmla="*/ 220 w 241"/>
              <a:gd name="T15" fmla="*/ 97 h 234"/>
              <a:gd name="T16" fmla="*/ 117 w 241"/>
              <a:gd name="T17" fmla="*/ 174 h 234"/>
              <a:gd name="T18" fmla="*/ 181 w 241"/>
              <a:gd name="T19" fmla="*/ 86 h 234"/>
              <a:gd name="T20" fmla="*/ 174 w 241"/>
              <a:gd name="T21" fmla="*/ 123 h 234"/>
              <a:gd name="T22" fmla="*/ 117 w 241"/>
              <a:gd name="T23" fmla="*/ 180 h 234"/>
              <a:gd name="T24" fmla="*/ 108 w 241"/>
              <a:gd name="T25" fmla="*/ 148 h 234"/>
              <a:gd name="T26" fmla="*/ 84 w 241"/>
              <a:gd name="T27" fmla="*/ 125 h 234"/>
              <a:gd name="T28" fmla="*/ 169 w 241"/>
              <a:gd name="T29" fmla="*/ 66 h 234"/>
              <a:gd name="T30" fmla="*/ 108 w 241"/>
              <a:gd name="T31" fmla="*/ 148 h 234"/>
              <a:gd name="T32" fmla="*/ 56 w 241"/>
              <a:gd name="T33" fmla="*/ 117 h 234"/>
              <a:gd name="T34" fmla="*/ 146 w 241"/>
              <a:gd name="T35" fmla="*/ 53 h 234"/>
              <a:gd name="T36" fmla="*/ 31 w 241"/>
              <a:gd name="T37" fmla="*/ 219 h 234"/>
              <a:gd name="T38" fmla="*/ 15 w 241"/>
              <a:gd name="T39" fmla="*/ 209 h 234"/>
              <a:gd name="T40" fmla="*/ 23 w 241"/>
              <a:gd name="T41" fmla="*/ 177 h 234"/>
              <a:gd name="T42" fmla="*/ 58 w 241"/>
              <a:gd name="T43" fmla="*/ 211 h 234"/>
              <a:gd name="T44" fmla="*/ 65 w 241"/>
              <a:gd name="T45" fmla="*/ 210 h 234"/>
              <a:gd name="T46" fmla="*/ 26 w 241"/>
              <a:gd name="T47" fmla="*/ 169 h 234"/>
              <a:gd name="T48" fmla="*/ 36 w 241"/>
              <a:gd name="T49" fmla="*/ 138 h 234"/>
              <a:gd name="T50" fmla="*/ 95 w 241"/>
              <a:gd name="T51" fmla="*/ 201 h 234"/>
              <a:gd name="T52" fmla="*/ 65 w 241"/>
              <a:gd name="T53" fmla="*/ 210 h 234"/>
              <a:gd name="T54" fmla="*/ 198 w 241"/>
              <a:gd name="T55" fmla="*/ 99 h 234"/>
              <a:gd name="T56" fmla="*/ 179 w 241"/>
              <a:gd name="T57" fmla="*/ 55 h 234"/>
              <a:gd name="T58" fmla="*/ 148 w 241"/>
              <a:gd name="T59" fmla="*/ 24 h 234"/>
              <a:gd name="T60" fmla="*/ 205 w 241"/>
              <a:gd name="T61" fmla="*/ 30 h 234"/>
              <a:gd name="T62" fmla="*/ 210 w 241"/>
              <a:gd name="T63" fmla="*/ 86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1" h="234">
                <a:moveTo>
                  <a:pt x="215" y="19"/>
                </a:moveTo>
                <a:cubicBezTo>
                  <a:pt x="203" y="7"/>
                  <a:pt x="187" y="0"/>
                  <a:pt x="172" y="0"/>
                </a:cubicBezTo>
                <a:cubicBezTo>
                  <a:pt x="159" y="0"/>
                  <a:pt x="146" y="5"/>
                  <a:pt x="138" y="14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102" y="50"/>
                  <a:pt x="102" y="50"/>
                  <a:pt x="102" y="50"/>
                </a:cubicBezTo>
                <a:cubicBezTo>
                  <a:pt x="26" y="126"/>
                  <a:pt x="26" y="126"/>
                  <a:pt x="26" y="126"/>
                </a:cubicBezTo>
                <a:cubicBezTo>
                  <a:pt x="23" y="130"/>
                  <a:pt x="20" y="134"/>
                  <a:pt x="19" y="139"/>
                </a:cubicBezTo>
                <a:cubicBezTo>
                  <a:pt x="2" y="201"/>
                  <a:pt x="2" y="201"/>
                  <a:pt x="2" y="201"/>
                </a:cubicBezTo>
                <a:cubicBezTo>
                  <a:pt x="2" y="201"/>
                  <a:pt x="0" y="206"/>
                  <a:pt x="0" y="209"/>
                </a:cubicBezTo>
                <a:cubicBezTo>
                  <a:pt x="0" y="223"/>
                  <a:pt x="12" y="234"/>
                  <a:pt x="26" y="234"/>
                </a:cubicBezTo>
                <a:cubicBezTo>
                  <a:pt x="29" y="234"/>
                  <a:pt x="34" y="233"/>
                  <a:pt x="34" y="233"/>
                </a:cubicBezTo>
                <a:cubicBezTo>
                  <a:pt x="96" y="216"/>
                  <a:pt x="96" y="216"/>
                  <a:pt x="96" y="216"/>
                </a:cubicBezTo>
                <a:cubicBezTo>
                  <a:pt x="101" y="215"/>
                  <a:pt x="105" y="213"/>
                  <a:pt x="109" y="209"/>
                </a:cubicBezTo>
                <a:cubicBezTo>
                  <a:pt x="220" y="97"/>
                  <a:pt x="220" y="97"/>
                  <a:pt x="220" y="97"/>
                </a:cubicBezTo>
                <a:cubicBezTo>
                  <a:pt x="241" y="76"/>
                  <a:pt x="238" y="42"/>
                  <a:pt x="215" y="19"/>
                </a:cubicBezTo>
                <a:close/>
                <a:moveTo>
                  <a:pt x="117" y="174"/>
                </a:moveTo>
                <a:cubicBezTo>
                  <a:pt x="117" y="168"/>
                  <a:pt x="115" y="161"/>
                  <a:pt x="112" y="155"/>
                </a:cubicBezTo>
                <a:cubicBezTo>
                  <a:pt x="181" y="86"/>
                  <a:pt x="181" y="86"/>
                  <a:pt x="181" y="86"/>
                </a:cubicBezTo>
                <a:cubicBezTo>
                  <a:pt x="185" y="99"/>
                  <a:pt x="183" y="113"/>
                  <a:pt x="174" y="123"/>
                </a:cubicBezTo>
                <a:cubicBezTo>
                  <a:pt x="174" y="123"/>
                  <a:pt x="174" y="123"/>
                  <a:pt x="174" y="123"/>
                </a:cubicBezTo>
                <a:cubicBezTo>
                  <a:pt x="174" y="123"/>
                  <a:pt x="174" y="123"/>
                  <a:pt x="174" y="123"/>
                </a:cubicBezTo>
                <a:cubicBezTo>
                  <a:pt x="117" y="180"/>
                  <a:pt x="117" y="180"/>
                  <a:pt x="117" y="180"/>
                </a:cubicBezTo>
                <a:cubicBezTo>
                  <a:pt x="117" y="178"/>
                  <a:pt x="118" y="176"/>
                  <a:pt x="117" y="174"/>
                </a:cubicBezTo>
                <a:close/>
                <a:moveTo>
                  <a:pt x="108" y="148"/>
                </a:moveTo>
                <a:cubicBezTo>
                  <a:pt x="106" y="144"/>
                  <a:pt x="103" y="140"/>
                  <a:pt x="99" y="136"/>
                </a:cubicBezTo>
                <a:cubicBezTo>
                  <a:pt x="94" y="131"/>
                  <a:pt x="89" y="128"/>
                  <a:pt x="84" y="125"/>
                </a:cubicBezTo>
                <a:cubicBezTo>
                  <a:pt x="154" y="55"/>
                  <a:pt x="154" y="55"/>
                  <a:pt x="154" y="55"/>
                </a:cubicBezTo>
                <a:cubicBezTo>
                  <a:pt x="159" y="58"/>
                  <a:pt x="164" y="61"/>
                  <a:pt x="169" y="66"/>
                </a:cubicBezTo>
                <a:cubicBezTo>
                  <a:pt x="173" y="70"/>
                  <a:pt x="176" y="74"/>
                  <a:pt x="178" y="79"/>
                </a:cubicBezTo>
                <a:lnTo>
                  <a:pt x="108" y="148"/>
                </a:lnTo>
                <a:close/>
                <a:moveTo>
                  <a:pt x="77" y="121"/>
                </a:moveTo>
                <a:cubicBezTo>
                  <a:pt x="70" y="119"/>
                  <a:pt x="63" y="117"/>
                  <a:pt x="56" y="117"/>
                </a:cubicBezTo>
                <a:cubicBezTo>
                  <a:pt x="112" y="60"/>
                  <a:pt x="112" y="60"/>
                  <a:pt x="112" y="60"/>
                </a:cubicBezTo>
                <a:cubicBezTo>
                  <a:pt x="121" y="52"/>
                  <a:pt x="133" y="50"/>
                  <a:pt x="146" y="53"/>
                </a:cubicBezTo>
                <a:lnTo>
                  <a:pt x="77" y="121"/>
                </a:lnTo>
                <a:close/>
                <a:moveTo>
                  <a:pt x="31" y="219"/>
                </a:moveTo>
                <a:cubicBezTo>
                  <a:pt x="30" y="219"/>
                  <a:pt x="28" y="219"/>
                  <a:pt x="26" y="220"/>
                </a:cubicBezTo>
                <a:cubicBezTo>
                  <a:pt x="20" y="219"/>
                  <a:pt x="15" y="215"/>
                  <a:pt x="15" y="209"/>
                </a:cubicBezTo>
                <a:cubicBezTo>
                  <a:pt x="15" y="207"/>
                  <a:pt x="16" y="205"/>
                  <a:pt x="16" y="204"/>
                </a:cubicBezTo>
                <a:cubicBezTo>
                  <a:pt x="23" y="177"/>
                  <a:pt x="23" y="177"/>
                  <a:pt x="23" y="177"/>
                </a:cubicBezTo>
                <a:cubicBezTo>
                  <a:pt x="32" y="176"/>
                  <a:pt x="41" y="180"/>
                  <a:pt x="48" y="187"/>
                </a:cubicBezTo>
                <a:cubicBezTo>
                  <a:pt x="55" y="194"/>
                  <a:pt x="58" y="203"/>
                  <a:pt x="58" y="211"/>
                </a:cubicBezTo>
                <a:lnTo>
                  <a:pt x="31" y="219"/>
                </a:lnTo>
                <a:close/>
                <a:moveTo>
                  <a:pt x="65" y="210"/>
                </a:moveTo>
                <a:cubicBezTo>
                  <a:pt x="65" y="200"/>
                  <a:pt x="61" y="190"/>
                  <a:pt x="53" y="182"/>
                </a:cubicBezTo>
                <a:cubicBezTo>
                  <a:pt x="45" y="174"/>
                  <a:pt x="35" y="170"/>
                  <a:pt x="26" y="169"/>
                </a:cubicBezTo>
                <a:cubicBezTo>
                  <a:pt x="33" y="143"/>
                  <a:pt x="33" y="143"/>
                  <a:pt x="33" y="143"/>
                </a:cubicBezTo>
                <a:cubicBezTo>
                  <a:pt x="33" y="141"/>
                  <a:pt x="34" y="139"/>
                  <a:pt x="36" y="138"/>
                </a:cubicBezTo>
                <a:cubicBezTo>
                  <a:pt x="50" y="127"/>
                  <a:pt x="73" y="130"/>
                  <a:pt x="88" y="146"/>
                </a:cubicBezTo>
                <a:cubicBezTo>
                  <a:pt x="105" y="163"/>
                  <a:pt x="108" y="187"/>
                  <a:pt x="95" y="201"/>
                </a:cubicBezTo>
                <a:cubicBezTo>
                  <a:pt x="94" y="202"/>
                  <a:pt x="93" y="202"/>
                  <a:pt x="92" y="202"/>
                </a:cubicBezTo>
                <a:lnTo>
                  <a:pt x="65" y="210"/>
                </a:lnTo>
                <a:close/>
                <a:moveTo>
                  <a:pt x="210" y="86"/>
                </a:moveTo>
                <a:cubicBezTo>
                  <a:pt x="198" y="99"/>
                  <a:pt x="198" y="99"/>
                  <a:pt x="198" y="99"/>
                </a:cubicBezTo>
                <a:cubicBezTo>
                  <a:pt x="198" y="97"/>
                  <a:pt x="198" y="96"/>
                  <a:pt x="198" y="94"/>
                </a:cubicBezTo>
                <a:cubicBezTo>
                  <a:pt x="196" y="80"/>
                  <a:pt x="190" y="66"/>
                  <a:pt x="179" y="55"/>
                </a:cubicBezTo>
                <a:cubicBezTo>
                  <a:pt x="167" y="44"/>
                  <a:pt x="151" y="37"/>
                  <a:pt x="136" y="37"/>
                </a:cubicBezTo>
                <a:cubicBezTo>
                  <a:pt x="148" y="24"/>
                  <a:pt x="148" y="24"/>
                  <a:pt x="148" y="24"/>
                </a:cubicBezTo>
                <a:cubicBezTo>
                  <a:pt x="154" y="18"/>
                  <a:pt x="162" y="15"/>
                  <a:pt x="172" y="15"/>
                </a:cubicBezTo>
                <a:cubicBezTo>
                  <a:pt x="183" y="15"/>
                  <a:pt x="196" y="20"/>
                  <a:pt x="205" y="30"/>
                </a:cubicBezTo>
                <a:cubicBezTo>
                  <a:pt x="214" y="38"/>
                  <a:pt x="219" y="49"/>
                  <a:pt x="219" y="60"/>
                </a:cubicBezTo>
                <a:cubicBezTo>
                  <a:pt x="220" y="70"/>
                  <a:pt x="217" y="80"/>
                  <a:pt x="210" y="8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0" name="Group 19"/>
          <p:cNvGrpSpPr/>
          <p:nvPr/>
        </p:nvGrpSpPr>
        <p:grpSpPr>
          <a:xfrm>
            <a:off x="3512267" y="3607671"/>
            <a:ext cx="1263780" cy="823516"/>
            <a:chOff x="2171982" y="4409337"/>
            <a:chExt cx="1263780" cy="823516"/>
          </a:xfrm>
        </p:grpSpPr>
        <p:sp>
          <p:nvSpPr>
            <p:cNvPr id="21" name="Freeform 78"/>
            <p:cNvSpPr>
              <a:spLocks noEditPoints="1"/>
            </p:cNvSpPr>
            <p:nvPr/>
          </p:nvSpPr>
          <p:spPr bwMode="auto">
            <a:xfrm rot="14808680">
              <a:off x="2129413" y="4451906"/>
              <a:ext cx="823516" cy="738377"/>
            </a:xfrm>
            <a:custGeom>
              <a:avLst/>
              <a:gdLst>
                <a:gd name="T0" fmla="*/ 172 w 241"/>
                <a:gd name="T1" fmla="*/ 0 h 234"/>
                <a:gd name="T2" fmla="*/ 102 w 241"/>
                <a:gd name="T3" fmla="*/ 50 h 234"/>
                <a:gd name="T4" fmla="*/ 102 w 241"/>
                <a:gd name="T5" fmla="*/ 50 h 234"/>
                <a:gd name="T6" fmla="*/ 26 w 241"/>
                <a:gd name="T7" fmla="*/ 126 h 234"/>
                <a:gd name="T8" fmla="*/ 2 w 241"/>
                <a:gd name="T9" fmla="*/ 201 h 234"/>
                <a:gd name="T10" fmla="*/ 26 w 241"/>
                <a:gd name="T11" fmla="*/ 234 h 234"/>
                <a:gd name="T12" fmla="*/ 96 w 241"/>
                <a:gd name="T13" fmla="*/ 216 h 234"/>
                <a:gd name="T14" fmla="*/ 220 w 241"/>
                <a:gd name="T15" fmla="*/ 97 h 234"/>
                <a:gd name="T16" fmla="*/ 117 w 241"/>
                <a:gd name="T17" fmla="*/ 174 h 234"/>
                <a:gd name="T18" fmla="*/ 181 w 241"/>
                <a:gd name="T19" fmla="*/ 86 h 234"/>
                <a:gd name="T20" fmla="*/ 174 w 241"/>
                <a:gd name="T21" fmla="*/ 123 h 234"/>
                <a:gd name="T22" fmla="*/ 117 w 241"/>
                <a:gd name="T23" fmla="*/ 180 h 234"/>
                <a:gd name="T24" fmla="*/ 108 w 241"/>
                <a:gd name="T25" fmla="*/ 148 h 234"/>
                <a:gd name="T26" fmla="*/ 84 w 241"/>
                <a:gd name="T27" fmla="*/ 125 h 234"/>
                <a:gd name="T28" fmla="*/ 169 w 241"/>
                <a:gd name="T29" fmla="*/ 66 h 234"/>
                <a:gd name="T30" fmla="*/ 108 w 241"/>
                <a:gd name="T31" fmla="*/ 148 h 234"/>
                <a:gd name="T32" fmla="*/ 56 w 241"/>
                <a:gd name="T33" fmla="*/ 117 h 234"/>
                <a:gd name="T34" fmla="*/ 146 w 241"/>
                <a:gd name="T35" fmla="*/ 53 h 234"/>
                <a:gd name="T36" fmla="*/ 31 w 241"/>
                <a:gd name="T37" fmla="*/ 219 h 234"/>
                <a:gd name="T38" fmla="*/ 15 w 241"/>
                <a:gd name="T39" fmla="*/ 209 h 234"/>
                <a:gd name="T40" fmla="*/ 23 w 241"/>
                <a:gd name="T41" fmla="*/ 177 h 234"/>
                <a:gd name="T42" fmla="*/ 58 w 241"/>
                <a:gd name="T43" fmla="*/ 211 h 234"/>
                <a:gd name="T44" fmla="*/ 65 w 241"/>
                <a:gd name="T45" fmla="*/ 210 h 234"/>
                <a:gd name="T46" fmla="*/ 26 w 241"/>
                <a:gd name="T47" fmla="*/ 169 h 234"/>
                <a:gd name="T48" fmla="*/ 36 w 241"/>
                <a:gd name="T49" fmla="*/ 138 h 234"/>
                <a:gd name="T50" fmla="*/ 95 w 241"/>
                <a:gd name="T51" fmla="*/ 201 h 234"/>
                <a:gd name="T52" fmla="*/ 65 w 241"/>
                <a:gd name="T53" fmla="*/ 210 h 234"/>
                <a:gd name="T54" fmla="*/ 198 w 241"/>
                <a:gd name="T55" fmla="*/ 99 h 234"/>
                <a:gd name="T56" fmla="*/ 179 w 241"/>
                <a:gd name="T57" fmla="*/ 55 h 234"/>
                <a:gd name="T58" fmla="*/ 148 w 241"/>
                <a:gd name="T59" fmla="*/ 24 h 234"/>
                <a:gd name="T60" fmla="*/ 205 w 241"/>
                <a:gd name="T61" fmla="*/ 30 h 234"/>
                <a:gd name="T62" fmla="*/ 210 w 241"/>
                <a:gd name="T63" fmla="*/ 8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34">
                  <a:moveTo>
                    <a:pt x="215" y="19"/>
                  </a:moveTo>
                  <a:cubicBezTo>
                    <a:pt x="203" y="7"/>
                    <a:pt x="187" y="0"/>
                    <a:pt x="172" y="0"/>
                  </a:cubicBezTo>
                  <a:cubicBezTo>
                    <a:pt x="159" y="0"/>
                    <a:pt x="146" y="5"/>
                    <a:pt x="138" y="14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26" y="126"/>
                    <a:pt x="26" y="126"/>
                    <a:pt x="26" y="126"/>
                  </a:cubicBezTo>
                  <a:cubicBezTo>
                    <a:pt x="23" y="130"/>
                    <a:pt x="20" y="134"/>
                    <a:pt x="19" y="139"/>
                  </a:cubicBezTo>
                  <a:cubicBezTo>
                    <a:pt x="2" y="201"/>
                    <a:pt x="2" y="201"/>
                    <a:pt x="2" y="201"/>
                  </a:cubicBezTo>
                  <a:cubicBezTo>
                    <a:pt x="2" y="201"/>
                    <a:pt x="0" y="206"/>
                    <a:pt x="0" y="209"/>
                  </a:cubicBezTo>
                  <a:cubicBezTo>
                    <a:pt x="0" y="223"/>
                    <a:pt x="12" y="234"/>
                    <a:pt x="26" y="234"/>
                  </a:cubicBezTo>
                  <a:cubicBezTo>
                    <a:pt x="29" y="234"/>
                    <a:pt x="34" y="233"/>
                    <a:pt x="34" y="233"/>
                  </a:cubicBezTo>
                  <a:cubicBezTo>
                    <a:pt x="96" y="216"/>
                    <a:pt x="96" y="216"/>
                    <a:pt x="96" y="216"/>
                  </a:cubicBezTo>
                  <a:cubicBezTo>
                    <a:pt x="101" y="215"/>
                    <a:pt x="105" y="213"/>
                    <a:pt x="109" y="209"/>
                  </a:cubicBezTo>
                  <a:cubicBezTo>
                    <a:pt x="220" y="97"/>
                    <a:pt x="220" y="97"/>
                    <a:pt x="220" y="97"/>
                  </a:cubicBezTo>
                  <a:cubicBezTo>
                    <a:pt x="241" y="76"/>
                    <a:pt x="238" y="42"/>
                    <a:pt x="215" y="19"/>
                  </a:cubicBezTo>
                  <a:close/>
                  <a:moveTo>
                    <a:pt x="117" y="174"/>
                  </a:moveTo>
                  <a:cubicBezTo>
                    <a:pt x="117" y="168"/>
                    <a:pt x="115" y="161"/>
                    <a:pt x="112" y="15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5" y="99"/>
                    <a:pt x="183" y="11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17" y="180"/>
                    <a:pt x="117" y="180"/>
                    <a:pt x="117" y="180"/>
                  </a:cubicBezTo>
                  <a:cubicBezTo>
                    <a:pt x="117" y="178"/>
                    <a:pt x="118" y="176"/>
                    <a:pt x="117" y="174"/>
                  </a:cubicBezTo>
                  <a:close/>
                  <a:moveTo>
                    <a:pt x="108" y="148"/>
                  </a:moveTo>
                  <a:cubicBezTo>
                    <a:pt x="106" y="144"/>
                    <a:pt x="103" y="140"/>
                    <a:pt x="99" y="136"/>
                  </a:cubicBezTo>
                  <a:cubicBezTo>
                    <a:pt x="94" y="131"/>
                    <a:pt x="89" y="128"/>
                    <a:pt x="84" y="12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9" y="58"/>
                    <a:pt x="164" y="61"/>
                    <a:pt x="169" y="66"/>
                  </a:cubicBezTo>
                  <a:cubicBezTo>
                    <a:pt x="173" y="70"/>
                    <a:pt x="176" y="74"/>
                    <a:pt x="178" y="79"/>
                  </a:cubicBezTo>
                  <a:lnTo>
                    <a:pt x="108" y="148"/>
                  </a:lnTo>
                  <a:close/>
                  <a:moveTo>
                    <a:pt x="77" y="121"/>
                  </a:moveTo>
                  <a:cubicBezTo>
                    <a:pt x="70" y="119"/>
                    <a:pt x="63" y="117"/>
                    <a:pt x="56" y="117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21" y="52"/>
                    <a:pt x="133" y="50"/>
                    <a:pt x="146" y="53"/>
                  </a:cubicBezTo>
                  <a:lnTo>
                    <a:pt x="77" y="121"/>
                  </a:lnTo>
                  <a:close/>
                  <a:moveTo>
                    <a:pt x="31" y="219"/>
                  </a:moveTo>
                  <a:cubicBezTo>
                    <a:pt x="30" y="219"/>
                    <a:pt x="28" y="219"/>
                    <a:pt x="26" y="220"/>
                  </a:cubicBezTo>
                  <a:cubicBezTo>
                    <a:pt x="20" y="219"/>
                    <a:pt x="15" y="215"/>
                    <a:pt x="15" y="209"/>
                  </a:cubicBezTo>
                  <a:cubicBezTo>
                    <a:pt x="15" y="207"/>
                    <a:pt x="16" y="205"/>
                    <a:pt x="16" y="204"/>
                  </a:cubicBezTo>
                  <a:cubicBezTo>
                    <a:pt x="23" y="177"/>
                    <a:pt x="23" y="177"/>
                    <a:pt x="23" y="177"/>
                  </a:cubicBezTo>
                  <a:cubicBezTo>
                    <a:pt x="32" y="176"/>
                    <a:pt x="41" y="180"/>
                    <a:pt x="48" y="187"/>
                  </a:cubicBezTo>
                  <a:cubicBezTo>
                    <a:pt x="55" y="194"/>
                    <a:pt x="58" y="203"/>
                    <a:pt x="58" y="211"/>
                  </a:cubicBezTo>
                  <a:lnTo>
                    <a:pt x="31" y="219"/>
                  </a:lnTo>
                  <a:close/>
                  <a:moveTo>
                    <a:pt x="65" y="210"/>
                  </a:moveTo>
                  <a:cubicBezTo>
                    <a:pt x="65" y="200"/>
                    <a:pt x="61" y="190"/>
                    <a:pt x="53" y="182"/>
                  </a:cubicBezTo>
                  <a:cubicBezTo>
                    <a:pt x="45" y="174"/>
                    <a:pt x="35" y="170"/>
                    <a:pt x="26" y="169"/>
                  </a:cubicBezTo>
                  <a:cubicBezTo>
                    <a:pt x="33" y="143"/>
                    <a:pt x="33" y="143"/>
                    <a:pt x="33" y="143"/>
                  </a:cubicBezTo>
                  <a:cubicBezTo>
                    <a:pt x="33" y="141"/>
                    <a:pt x="34" y="139"/>
                    <a:pt x="36" y="138"/>
                  </a:cubicBezTo>
                  <a:cubicBezTo>
                    <a:pt x="50" y="127"/>
                    <a:pt x="73" y="130"/>
                    <a:pt x="88" y="146"/>
                  </a:cubicBezTo>
                  <a:cubicBezTo>
                    <a:pt x="105" y="163"/>
                    <a:pt x="108" y="187"/>
                    <a:pt x="95" y="201"/>
                  </a:cubicBezTo>
                  <a:cubicBezTo>
                    <a:pt x="94" y="202"/>
                    <a:pt x="93" y="202"/>
                    <a:pt x="92" y="202"/>
                  </a:cubicBezTo>
                  <a:lnTo>
                    <a:pt x="65" y="210"/>
                  </a:lnTo>
                  <a:close/>
                  <a:moveTo>
                    <a:pt x="210" y="86"/>
                  </a:moveTo>
                  <a:cubicBezTo>
                    <a:pt x="198" y="99"/>
                    <a:pt x="198" y="99"/>
                    <a:pt x="198" y="99"/>
                  </a:cubicBezTo>
                  <a:cubicBezTo>
                    <a:pt x="198" y="97"/>
                    <a:pt x="198" y="96"/>
                    <a:pt x="198" y="94"/>
                  </a:cubicBezTo>
                  <a:cubicBezTo>
                    <a:pt x="196" y="80"/>
                    <a:pt x="190" y="66"/>
                    <a:pt x="179" y="55"/>
                  </a:cubicBezTo>
                  <a:cubicBezTo>
                    <a:pt x="167" y="44"/>
                    <a:pt x="151" y="37"/>
                    <a:pt x="136" y="37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54" y="18"/>
                    <a:pt x="162" y="15"/>
                    <a:pt x="172" y="15"/>
                  </a:cubicBezTo>
                  <a:cubicBezTo>
                    <a:pt x="183" y="15"/>
                    <a:pt x="196" y="20"/>
                    <a:pt x="205" y="30"/>
                  </a:cubicBezTo>
                  <a:cubicBezTo>
                    <a:pt x="214" y="38"/>
                    <a:pt x="219" y="49"/>
                    <a:pt x="219" y="60"/>
                  </a:cubicBezTo>
                  <a:cubicBezTo>
                    <a:pt x="220" y="70"/>
                    <a:pt x="217" y="80"/>
                    <a:pt x="210" y="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956144" y="4835046"/>
              <a:ext cx="4796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b="1" dirty="0">
                  <a:solidFill>
                    <a:srgbClr val="F50000"/>
                  </a:solidFill>
                  <a:latin typeface="Arial" pitchFamily="34" charset="0"/>
                  <a:cs typeface="Arial" pitchFamily="34" charset="0"/>
                </a:rPr>
                <a:t>1B</a:t>
              </a: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2519820" y="3530071"/>
            <a:ext cx="9672180" cy="986631"/>
            <a:chOff x="2519820" y="3530071"/>
            <a:chExt cx="9672180" cy="986631"/>
          </a:xfrm>
        </p:grpSpPr>
        <p:sp>
          <p:nvSpPr>
            <p:cNvPr id="24" name="Rectangle 1"/>
            <p:cNvSpPr/>
            <p:nvPr/>
          </p:nvSpPr>
          <p:spPr>
            <a:xfrm rot="10800000" flipH="1">
              <a:off x="2519820" y="3530071"/>
              <a:ext cx="9672180" cy="986631"/>
            </a:xfrm>
            <a:custGeom>
              <a:avLst/>
              <a:gdLst>
                <a:gd name="connsiteX0" fmla="*/ 0 w 9163574"/>
                <a:gd name="connsiteY0" fmla="*/ 0 h 1249960"/>
                <a:gd name="connsiteX1" fmla="*/ 9163574 w 9163574"/>
                <a:gd name="connsiteY1" fmla="*/ 0 h 1249960"/>
                <a:gd name="connsiteX2" fmla="*/ 9163574 w 9163574"/>
                <a:gd name="connsiteY2" fmla="*/ 1249960 h 1249960"/>
                <a:gd name="connsiteX3" fmla="*/ 0 w 9163574"/>
                <a:gd name="connsiteY3" fmla="*/ 1249960 h 1249960"/>
                <a:gd name="connsiteX4" fmla="*/ 0 w 9163574"/>
                <a:gd name="connsiteY4" fmla="*/ 0 h 1249960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882428 w 10046002"/>
                <a:gd name="connsiteY3" fmla="*/ 1278735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1000725 w 10046002"/>
                <a:gd name="connsiteY3" fmla="*/ 1253157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46002 w 10046002"/>
                <a:gd name="connsiteY1" fmla="*/ 28775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  <a:gd name="connsiteX0" fmla="*/ 0 w 10046002"/>
                <a:gd name="connsiteY0" fmla="*/ 0 h 1278735"/>
                <a:gd name="connsiteX1" fmla="*/ 10036411 w 10046002"/>
                <a:gd name="connsiteY1" fmla="*/ 3198 h 1278735"/>
                <a:gd name="connsiteX2" fmla="*/ 10046002 w 10046002"/>
                <a:gd name="connsiteY2" fmla="*/ 1278735 h 1278735"/>
                <a:gd name="connsiteX3" fmla="*/ 904809 w 10046002"/>
                <a:gd name="connsiteY3" fmla="*/ 1272340 h 1278735"/>
                <a:gd name="connsiteX4" fmla="*/ 0 w 10046002"/>
                <a:gd name="connsiteY4" fmla="*/ 0 h 1278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46002" h="1278735">
                  <a:moveTo>
                    <a:pt x="0" y="0"/>
                  </a:moveTo>
                  <a:lnTo>
                    <a:pt x="10036411" y="3198"/>
                  </a:lnTo>
                  <a:lnTo>
                    <a:pt x="10046002" y="1278735"/>
                  </a:lnTo>
                  <a:lnTo>
                    <a:pt x="904809" y="127234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5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3344449" y="3582448"/>
              <a:ext cx="8847551" cy="914400"/>
            </a:xfrm>
            <a:prstGeom prst="rect">
              <a:avLst/>
            </a:prstGeom>
            <a:solidFill>
              <a:srgbClr val="F5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400" b="1" dirty="0" smtClean="0">
                  <a:latin typeface="Arial" pitchFamily="34" charset="0"/>
                  <a:cs typeface="Arial" pitchFamily="34" charset="0"/>
                </a:rPr>
                <a:t>Summarizing the Current Status of a Case</a:t>
              </a:r>
              <a:endParaRPr lang="en-US" sz="24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Freeform 78"/>
            <p:cNvSpPr>
              <a:spLocks noEditPoints="1"/>
            </p:cNvSpPr>
            <p:nvPr/>
          </p:nvSpPr>
          <p:spPr bwMode="auto">
            <a:xfrm rot="14808680">
              <a:off x="3469698" y="3650240"/>
              <a:ext cx="823516" cy="738377"/>
            </a:xfrm>
            <a:custGeom>
              <a:avLst/>
              <a:gdLst>
                <a:gd name="T0" fmla="*/ 172 w 241"/>
                <a:gd name="T1" fmla="*/ 0 h 234"/>
                <a:gd name="T2" fmla="*/ 102 w 241"/>
                <a:gd name="T3" fmla="*/ 50 h 234"/>
                <a:gd name="T4" fmla="*/ 102 w 241"/>
                <a:gd name="T5" fmla="*/ 50 h 234"/>
                <a:gd name="T6" fmla="*/ 26 w 241"/>
                <a:gd name="T7" fmla="*/ 126 h 234"/>
                <a:gd name="T8" fmla="*/ 2 w 241"/>
                <a:gd name="T9" fmla="*/ 201 h 234"/>
                <a:gd name="T10" fmla="*/ 26 w 241"/>
                <a:gd name="T11" fmla="*/ 234 h 234"/>
                <a:gd name="T12" fmla="*/ 96 w 241"/>
                <a:gd name="T13" fmla="*/ 216 h 234"/>
                <a:gd name="T14" fmla="*/ 220 w 241"/>
                <a:gd name="T15" fmla="*/ 97 h 234"/>
                <a:gd name="T16" fmla="*/ 117 w 241"/>
                <a:gd name="T17" fmla="*/ 174 h 234"/>
                <a:gd name="T18" fmla="*/ 181 w 241"/>
                <a:gd name="T19" fmla="*/ 86 h 234"/>
                <a:gd name="T20" fmla="*/ 174 w 241"/>
                <a:gd name="T21" fmla="*/ 123 h 234"/>
                <a:gd name="T22" fmla="*/ 117 w 241"/>
                <a:gd name="T23" fmla="*/ 180 h 234"/>
                <a:gd name="T24" fmla="*/ 108 w 241"/>
                <a:gd name="T25" fmla="*/ 148 h 234"/>
                <a:gd name="T26" fmla="*/ 84 w 241"/>
                <a:gd name="T27" fmla="*/ 125 h 234"/>
                <a:gd name="T28" fmla="*/ 169 w 241"/>
                <a:gd name="T29" fmla="*/ 66 h 234"/>
                <a:gd name="T30" fmla="*/ 108 w 241"/>
                <a:gd name="T31" fmla="*/ 148 h 234"/>
                <a:gd name="T32" fmla="*/ 56 w 241"/>
                <a:gd name="T33" fmla="*/ 117 h 234"/>
                <a:gd name="T34" fmla="*/ 146 w 241"/>
                <a:gd name="T35" fmla="*/ 53 h 234"/>
                <a:gd name="T36" fmla="*/ 31 w 241"/>
                <a:gd name="T37" fmla="*/ 219 h 234"/>
                <a:gd name="T38" fmla="*/ 15 w 241"/>
                <a:gd name="T39" fmla="*/ 209 h 234"/>
                <a:gd name="T40" fmla="*/ 23 w 241"/>
                <a:gd name="T41" fmla="*/ 177 h 234"/>
                <a:gd name="T42" fmla="*/ 58 w 241"/>
                <a:gd name="T43" fmla="*/ 211 h 234"/>
                <a:gd name="T44" fmla="*/ 65 w 241"/>
                <a:gd name="T45" fmla="*/ 210 h 234"/>
                <a:gd name="T46" fmla="*/ 26 w 241"/>
                <a:gd name="T47" fmla="*/ 169 h 234"/>
                <a:gd name="T48" fmla="*/ 36 w 241"/>
                <a:gd name="T49" fmla="*/ 138 h 234"/>
                <a:gd name="T50" fmla="*/ 95 w 241"/>
                <a:gd name="T51" fmla="*/ 201 h 234"/>
                <a:gd name="T52" fmla="*/ 65 w 241"/>
                <a:gd name="T53" fmla="*/ 210 h 234"/>
                <a:gd name="T54" fmla="*/ 198 w 241"/>
                <a:gd name="T55" fmla="*/ 99 h 234"/>
                <a:gd name="T56" fmla="*/ 179 w 241"/>
                <a:gd name="T57" fmla="*/ 55 h 234"/>
                <a:gd name="T58" fmla="*/ 148 w 241"/>
                <a:gd name="T59" fmla="*/ 24 h 234"/>
                <a:gd name="T60" fmla="*/ 205 w 241"/>
                <a:gd name="T61" fmla="*/ 30 h 234"/>
                <a:gd name="T62" fmla="*/ 210 w 241"/>
                <a:gd name="T63" fmla="*/ 86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41" h="234">
                  <a:moveTo>
                    <a:pt x="215" y="19"/>
                  </a:moveTo>
                  <a:cubicBezTo>
                    <a:pt x="203" y="7"/>
                    <a:pt x="187" y="0"/>
                    <a:pt x="172" y="0"/>
                  </a:cubicBezTo>
                  <a:cubicBezTo>
                    <a:pt x="159" y="0"/>
                    <a:pt x="146" y="5"/>
                    <a:pt x="138" y="14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26" y="126"/>
                    <a:pt x="26" y="126"/>
                    <a:pt x="26" y="126"/>
                  </a:cubicBezTo>
                  <a:cubicBezTo>
                    <a:pt x="23" y="130"/>
                    <a:pt x="20" y="134"/>
                    <a:pt x="19" y="139"/>
                  </a:cubicBezTo>
                  <a:cubicBezTo>
                    <a:pt x="2" y="201"/>
                    <a:pt x="2" y="201"/>
                    <a:pt x="2" y="201"/>
                  </a:cubicBezTo>
                  <a:cubicBezTo>
                    <a:pt x="2" y="201"/>
                    <a:pt x="0" y="206"/>
                    <a:pt x="0" y="209"/>
                  </a:cubicBezTo>
                  <a:cubicBezTo>
                    <a:pt x="0" y="223"/>
                    <a:pt x="12" y="234"/>
                    <a:pt x="26" y="234"/>
                  </a:cubicBezTo>
                  <a:cubicBezTo>
                    <a:pt x="29" y="234"/>
                    <a:pt x="34" y="233"/>
                    <a:pt x="34" y="233"/>
                  </a:cubicBezTo>
                  <a:cubicBezTo>
                    <a:pt x="96" y="216"/>
                    <a:pt x="96" y="216"/>
                    <a:pt x="96" y="216"/>
                  </a:cubicBezTo>
                  <a:cubicBezTo>
                    <a:pt x="101" y="215"/>
                    <a:pt x="105" y="213"/>
                    <a:pt x="109" y="209"/>
                  </a:cubicBezTo>
                  <a:cubicBezTo>
                    <a:pt x="220" y="97"/>
                    <a:pt x="220" y="97"/>
                    <a:pt x="220" y="97"/>
                  </a:cubicBezTo>
                  <a:cubicBezTo>
                    <a:pt x="241" y="76"/>
                    <a:pt x="238" y="42"/>
                    <a:pt x="215" y="19"/>
                  </a:cubicBezTo>
                  <a:close/>
                  <a:moveTo>
                    <a:pt x="117" y="174"/>
                  </a:moveTo>
                  <a:cubicBezTo>
                    <a:pt x="117" y="168"/>
                    <a:pt x="115" y="161"/>
                    <a:pt x="112" y="15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5" y="99"/>
                    <a:pt x="183" y="11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74" y="123"/>
                    <a:pt x="174" y="123"/>
                    <a:pt x="174" y="123"/>
                  </a:cubicBezTo>
                  <a:cubicBezTo>
                    <a:pt x="117" y="180"/>
                    <a:pt x="117" y="180"/>
                    <a:pt x="117" y="180"/>
                  </a:cubicBezTo>
                  <a:cubicBezTo>
                    <a:pt x="117" y="178"/>
                    <a:pt x="118" y="176"/>
                    <a:pt x="117" y="174"/>
                  </a:cubicBezTo>
                  <a:close/>
                  <a:moveTo>
                    <a:pt x="108" y="148"/>
                  </a:moveTo>
                  <a:cubicBezTo>
                    <a:pt x="106" y="144"/>
                    <a:pt x="103" y="140"/>
                    <a:pt x="99" y="136"/>
                  </a:cubicBezTo>
                  <a:cubicBezTo>
                    <a:pt x="94" y="131"/>
                    <a:pt x="89" y="128"/>
                    <a:pt x="84" y="125"/>
                  </a:cubicBezTo>
                  <a:cubicBezTo>
                    <a:pt x="154" y="55"/>
                    <a:pt x="154" y="55"/>
                    <a:pt x="154" y="55"/>
                  </a:cubicBezTo>
                  <a:cubicBezTo>
                    <a:pt x="159" y="58"/>
                    <a:pt x="164" y="61"/>
                    <a:pt x="169" y="66"/>
                  </a:cubicBezTo>
                  <a:cubicBezTo>
                    <a:pt x="173" y="70"/>
                    <a:pt x="176" y="74"/>
                    <a:pt x="178" y="79"/>
                  </a:cubicBezTo>
                  <a:lnTo>
                    <a:pt x="108" y="148"/>
                  </a:lnTo>
                  <a:close/>
                  <a:moveTo>
                    <a:pt x="77" y="121"/>
                  </a:moveTo>
                  <a:cubicBezTo>
                    <a:pt x="70" y="119"/>
                    <a:pt x="63" y="117"/>
                    <a:pt x="56" y="117"/>
                  </a:cubicBezTo>
                  <a:cubicBezTo>
                    <a:pt x="112" y="60"/>
                    <a:pt x="112" y="60"/>
                    <a:pt x="112" y="60"/>
                  </a:cubicBezTo>
                  <a:cubicBezTo>
                    <a:pt x="121" y="52"/>
                    <a:pt x="133" y="50"/>
                    <a:pt x="146" y="53"/>
                  </a:cubicBezTo>
                  <a:lnTo>
                    <a:pt x="77" y="121"/>
                  </a:lnTo>
                  <a:close/>
                  <a:moveTo>
                    <a:pt x="31" y="219"/>
                  </a:moveTo>
                  <a:cubicBezTo>
                    <a:pt x="30" y="219"/>
                    <a:pt x="28" y="219"/>
                    <a:pt x="26" y="220"/>
                  </a:cubicBezTo>
                  <a:cubicBezTo>
                    <a:pt x="20" y="219"/>
                    <a:pt x="15" y="215"/>
                    <a:pt x="15" y="209"/>
                  </a:cubicBezTo>
                  <a:cubicBezTo>
                    <a:pt x="15" y="207"/>
                    <a:pt x="16" y="205"/>
                    <a:pt x="16" y="204"/>
                  </a:cubicBezTo>
                  <a:cubicBezTo>
                    <a:pt x="23" y="177"/>
                    <a:pt x="23" y="177"/>
                    <a:pt x="23" y="177"/>
                  </a:cubicBezTo>
                  <a:cubicBezTo>
                    <a:pt x="32" y="176"/>
                    <a:pt x="41" y="180"/>
                    <a:pt x="48" y="187"/>
                  </a:cubicBezTo>
                  <a:cubicBezTo>
                    <a:pt x="55" y="194"/>
                    <a:pt x="58" y="203"/>
                    <a:pt x="58" y="211"/>
                  </a:cubicBezTo>
                  <a:lnTo>
                    <a:pt x="31" y="219"/>
                  </a:lnTo>
                  <a:close/>
                  <a:moveTo>
                    <a:pt x="65" y="210"/>
                  </a:moveTo>
                  <a:cubicBezTo>
                    <a:pt x="65" y="200"/>
                    <a:pt x="61" y="190"/>
                    <a:pt x="53" y="182"/>
                  </a:cubicBezTo>
                  <a:cubicBezTo>
                    <a:pt x="45" y="174"/>
                    <a:pt x="35" y="170"/>
                    <a:pt x="26" y="169"/>
                  </a:cubicBezTo>
                  <a:cubicBezTo>
                    <a:pt x="33" y="143"/>
                    <a:pt x="33" y="143"/>
                    <a:pt x="33" y="143"/>
                  </a:cubicBezTo>
                  <a:cubicBezTo>
                    <a:pt x="33" y="141"/>
                    <a:pt x="34" y="139"/>
                    <a:pt x="36" y="138"/>
                  </a:cubicBezTo>
                  <a:cubicBezTo>
                    <a:pt x="50" y="127"/>
                    <a:pt x="73" y="130"/>
                    <a:pt x="88" y="146"/>
                  </a:cubicBezTo>
                  <a:cubicBezTo>
                    <a:pt x="105" y="163"/>
                    <a:pt x="108" y="187"/>
                    <a:pt x="95" y="201"/>
                  </a:cubicBezTo>
                  <a:cubicBezTo>
                    <a:pt x="94" y="202"/>
                    <a:pt x="93" y="202"/>
                    <a:pt x="92" y="202"/>
                  </a:cubicBezTo>
                  <a:lnTo>
                    <a:pt x="65" y="210"/>
                  </a:lnTo>
                  <a:close/>
                  <a:moveTo>
                    <a:pt x="210" y="86"/>
                  </a:moveTo>
                  <a:cubicBezTo>
                    <a:pt x="198" y="99"/>
                    <a:pt x="198" y="99"/>
                    <a:pt x="198" y="99"/>
                  </a:cubicBezTo>
                  <a:cubicBezTo>
                    <a:pt x="198" y="97"/>
                    <a:pt x="198" y="96"/>
                    <a:pt x="198" y="94"/>
                  </a:cubicBezTo>
                  <a:cubicBezTo>
                    <a:pt x="196" y="80"/>
                    <a:pt x="190" y="66"/>
                    <a:pt x="179" y="55"/>
                  </a:cubicBezTo>
                  <a:cubicBezTo>
                    <a:pt x="167" y="44"/>
                    <a:pt x="151" y="37"/>
                    <a:pt x="136" y="37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54" y="18"/>
                    <a:pt x="162" y="15"/>
                    <a:pt x="172" y="15"/>
                  </a:cubicBezTo>
                  <a:cubicBezTo>
                    <a:pt x="183" y="15"/>
                    <a:pt x="196" y="20"/>
                    <a:pt x="205" y="30"/>
                  </a:cubicBezTo>
                  <a:cubicBezTo>
                    <a:pt x="214" y="38"/>
                    <a:pt x="219" y="49"/>
                    <a:pt x="219" y="60"/>
                  </a:cubicBezTo>
                  <a:cubicBezTo>
                    <a:pt x="220" y="70"/>
                    <a:pt x="217" y="80"/>
                    <a:pt x="210" y="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</p:spTree>
    <p:extLst>
      <p:ext uri="{BB962C8B-B14F-4D97-AF65-F5344CB8AC3E}">
        <p14:creationId xmlns:p14="http://schemas.microsoft.com/office/powerpoint/2010/main" val="28447181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5150" y="2331201"/>
            <a:ext cx="1088850" cy="1107733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320474" y="4136252"/>
            <a:ext cx="285293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Work Recap, Chapter Overview</a:t>
            </a:r>
            <a:r>
              <a:rPr lang="en-US" sz="2400" dirty="0" smtClean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ncies</a:t>
            </a:r>
          </a:p>
        </p:txBody>
      </p:sp>
      <p:sp>
        <p:nvSpPr>
          <p:cNvPr id="7" name="Rectangle 6"/>
          <p:cNvSpPr/>
          <p:nvPr/>
        </p:nvSpPr>
        <p:spPr>
          <a:xfrm>
            <a:off x="3137227" y="4116879"/>
            <a:ext cx="16722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 Violence</a:t>
            </a:r>
          </a:p>
        </p:txBody>
      </p:sp>
      <p:sp>
        <p:nvSpPr>
          <p:cNvPr id="8" name="Rectangle 7"/>
          <p:cNvSpPr/>
          <p:nvPr/>
        </p:nvSpPr>
        <p:spPr>
          <a:xfrm>
            <a:off x="4919818" y="4116879"/>
            <a:ext cx="24581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 Building: Cultural Competence</a:t>
            </a:r>
          </a:p>
        </p:txBody>
      </p:sp>
      <p:sp>
        <p:nvSpPr>
          <p:cNvPr id="9" name="Rectangle 8"/>
          <p:cNvSpPr/>
          <p:nvPr/>
        </p:nvSpPr>
        <p:spPr>
          <a:xfrm>
            <a:off x="7544156" y="4116879"/>
            <a:ext cx="14594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E6E6E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a Case</a:t>
            </a:r>
          </a:p>
        </p:txBody>
      </p:sp>
      <p:sp>
        <p:nvSpPr>
          <p:cNvPr id="10" name="Rectangle 9"/>
          <p:cNvSpPr/>
          <p:nvPr/>
        </p:nvSpPr>
        <p:spPr>
          <a:xfrm>
            <a:off x="9011149" y="4078779"/>
            <a:ext cx="299987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Wrap-Up: Review</a:t>
            </a:r>
            <a:r>
              <a:rPr lang="en-US" sz="2400" dirty="0" smtClean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 </a:t>
            </a:r>
          </a:p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7: Pre-Work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939431" y="2514061"/>
            <a:ext cx="809435" cy="812462"/>
          </a:xfrm>
          <a:prstGeom prst="rect">
            <a:avLst/>
          </a:prstGeom>
        </p:spPr>
      </p:pic>
      <p:sp>
        <p:nvSpPr>
          <p:cNvPr id="12" name="Freeform 5"/>
          <p:cNvSpPr>
            <a:spLocks/>
          </p:cNvSpPr>
          <p:nvPr/>
        </p:nvSpPr>
        <p:spPr bwMode="auto">
          <a:xfrm>
            <a:off x="9107488" y="2918466"/>
            <a:ext cx="2376488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2" y="358"/>
              </a:cxn>
              <a:cxn ang="0">
                <a:pos x="104" y="1"/>
              </a:cxn>
              <a:cxn ang="0">
                <a:pos x="104" y="0"/>
              </a:cxn>
              <a:cxn ang="0">
                <a:pos x="0" y="0"/>
              </a:cxn>
              <a:cxn ang="0">
                <a:pos x="0" y="1"/>
              </a:cxn>
              <a:cxn ang="0">
                <a:pos x="462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9" y="358"/>
                  <a:pt x="462" y="358"/>
                </a:cubicBezTo>
                <a:cubicBezTo>
                  <a:pt x="264" y="358"/>
                  <a:pt x="104" y="198"/>
                  <a:pt x="104" y="1"/>
                </a:cubicBezTo>
                <a:cubicBezTo>
                  <a:pt x="104" y="1"/>
                  <a:pt x="104" y="1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70008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1" y="104"/>
              </a:cxn>
              <a:cxn ang="0">
                <a:pos x="819" y="461"/>
              </a:cxn>
              <a:cxn ang="0">
                <a:pos x="819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819" y="461"/>
                  <a:pt x="819" y="461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1" y="0"/>
                </a:cubicBezTo>
                <a:close/>
              </a:path>
            </a:pathLst>
          </a:custGeom>
          <a:solidFill>
            <a:srgbClr val="F2F2F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7"/>
          <p:cNvSpPr>
            <a:spLocks/>
          </p:cNvSpPr>
          <p:nvPr/>
        </p:nvSpPr>
        <p:spPr bwMode="auto">
          <a:xfrm>
            <a:off x="4892675" y="2918466"/>
            <a:ext cx="2374900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1" y="359"/>
              </a:cxn>
              <a:cxn ang="0">
                <a:pos x="103" y="1"/>
              </a:cxn>
              <a:cxn ang="0">
                <a:pos x="103" y="0"/>
              </a:cxn>
              <a:cxn ang="0">
                <a:pos x="0" y="0"/>
              </a:cxn>
              <a:cxn ang="0">
                <a:pos x="0" y="1"/>
              </a:cxn>
              <a:cxn ang="0">
                <a:pos x="461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8" y="359"/>
                  <a:pt x="461" y="359"/>
                </a:cubicBezTo>
                <a:cubicBezTo>
                  <a:pt x="264" y="359"/>
                  <a:pt x="103" y="198"/>
                  <a:pt x="103" y="1"/>
                </a:cubicBezTo>
                <a:cubicBezTo>
                  <a:pt x="103" y="1"/>
                  <a:pt x="103" y="1"/>
                  <a:pt x="10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8"/>
          <p:cNvSpPr>
            <a:spLocks/>
          </p:cNvSpPr>
          <p:nvPr/>
        </p:nvSpPr>
        <p:spPr bwMode="auto">
          <a:xfrm>
            <a:off x="2782888" y="1729428"/>
            <a:ext cx="2374900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20" y="461"/>
              </a:cxn>
              <a:cxn ang="0">
                <a:pos x="820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5" y="104"/>
                  <a:pt x="462" y="104"/>
                </a:cubicBezTo>
                <a:cubicBezTo>
                  <a:pt x="659" y="104"/>
                  <a:pt x="820" y="264"/>
                  <a:pt x="820" y="461"/>
                </a:cubicBezTo>
                <a:cubicBezTo>
                  <a:pt x="820" y="461"/>
                  <a:pt x="820" y="461"/>
                  <a:pt x="820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676275" y="1729428"/>
            <a:ext cx="2374900" cy="2381251"/>
            <a:chOff x="676275" y="2281238"/>
            <a:chExt cx="2374900" cy="2381251"/>
          </a:xfrm>
        </p:grpSpPr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676275" y="3470276"/>
              <a:ext cx="2374900" cy="1192213"/>
            </a:xfrm>
            <a:custGeom>
              <a:avLst/>
              <a:gdLst/>
              <a:ahLst/>
              <a:cxnLst>
                <a:cxn ang="0">
                  <a:pos x="819" y="1"/>
                </a:cxn>
                <a:cxn ang="0">
                  <a:pos x="462" y="359"/>
                </a:cxn>
                <a:cxn ang="0">
                  <a:pos x="104" y="1"/>
                </a:cxn>
                <a:cxn ang="0">
                  <a:pos x="104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462" y="462"/>
                </a:cxn>
                <a:cxn ang="0">
                  <a:pos x="923" y="1"/>
                </a:cxn>
                <a:cxn ang="0">
                  <a:pos x="923" y="0"/>
                </a:cxn>
                <a:cxn ang="0">
                  <a:pos x="819" y="0"/>
                </a:cxn>
                <a:cxn ang="0">
                  <a:pos x="819" y="1"/>
                </a:cxn>
              </a:cxnLst>
              <a:rect l="0" t="0" r="r" b="b"/>
              <a:pathLst>
                <a:path w="923" h="462">
                  <a:moveTo>
                    <a:pt x="819" y="1"/>
                  </a:moveTo>
                  <a:cubicBezTo>
                    <a:pt x="819" y="198"/>
                    <a:pt x="659" y="359"/>
                    <a:pt x="462" y="359"/>
                  </a:cubicBezTo>
                  <a:cubicBezTo>
                    <a:pt x="264" y="359"/>
                    <a:pt x="104" y="198"/>
                    <a:pt x="104" y="1"/>
                  </a:cubicBezTo>
                  <a:cubicBezTo>
                    <a:pt x="104" y="1"/>
                    <a:pt x="104" y="1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55"/>
                    <a:pt x="207" y="462"/>
                    <a:pt x="462" y="462"/>
                  </a:cubicBezTo>
                  <a:cubicBezTo>
                    <a:pt x="716" y="462"/>
                    <a:pt x="923" y="255"/>
                    <a:pt x="923" y="1"/>
                  </a:cubicBezTo>
                  <a:cubicBezTo>
                    <a:pt x="923" y="1"/>
                    <a:pt x="923" y="1"/>
                    <a:pt x="923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1"/>
                    <a:pt x="819" y="1"/>
                    <a:pt x="819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676275" y="2281238"/>
              <a:ext cx="2374900" cy="1189038"/>
            </a:xfrm>
            <a:custGeom>
              <a:avLst/>
              <a:gdLst/>
              <a:ahLst/>
              <a:cxnLst>
                <a:cxn ang="0">
                  <a:pos x="462" y="0"/>
                </a:cxn>
                <a:cxn ang="0">
                  <a:pos x="0" y="461"/>
                </a:cxn>
                <a:cxn ang="0">
                  <a:pos x="104" y="461"/>
                </a:cxn>
                <a:cxn ang="0">
                  <a:pos x="462" y="104"/>
                </a:cxn>
                <a:cxn ang="0">
                  <a:pos x="819" y="461"/>
                </a:cxn>
                <a:cxn ang="0">
                  <a:pos x="923" y="461"/>
                </a:cxn>
                <a:cxn ang="0">
                  <a:pos x="462" y="0"/>
                </a:cxn>
              </a:cxnLst>
              <a:rect l="0" t="0" r="r" b="b"/>
              <a:pathLst>
                <a:path w="923" h="461">
                  <a:moveTo>
                    <a:pt x="462" y="0"/>
                  </a:moveTo>
                  <a:cubicBezTo>
                    <a:pt x="207" y="0"/>
                    <a:pt x="0" y="207"/>
                    <a:pt x="0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264"/>
                    <a:pt x="264" y="104"/>
                    <a:pt x="462" y="104"/>
                  </a:cubicBezTo>
                  <a:cubicBezTo>
                    <a:pt x="659" y="104"/>
                    <a:pt x="819" y="264"/>
                    <a:pt x="819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207"/>
                    <a:pt x="716" y="0"/>
                    <a:pt x="46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11"/>
          <p:cNvSpPr>
            <a:spLocks/>
          </p:cNvSpPr>
          <p:nvPr/>
        </p:nvSpPr>
        <p:spPr bwMode="auto">
          <a:xfrm>
            <a:off x="9107488" y="1729428"/>
            <a:ext cx="2376488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2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rgbClr val="192F4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2"/>
          <p:cNvSpPr>
            <a:spLocks/>
          </p:cNvSpPr>
          <p:nvPr/>
        </p:nvSpPr>
        <p:spPr bwMode="auto">
          <a:xfrm>
            <a:off x="7000875" y="2918466"/>
            <a:ext cx="2374900" cy="1192213"/>
          </a:xfrm>
          <a:custGeom>
            <a:avLst/>
            <a:gdLst/>
            <a:ahLst/>
            <a:cxnLst>
              <a:cxn ang="0">
                <a:pos x="461" y="358"/>
              </a:cxn>
              <a:cxn ang="0">
                <a:pos x="104" y="0"/>
              </a:cxn>
              <a:cxn ang="0">
                <a:pos x="0" y="0"/>
              </a:cxn>
              <a:cxn ang="0">
                <a:pos x="461" y="462"/>
              </a:cxn>
              <a:cxn ang="0">
                <a:pos x="923" y="0"/>
              </a:cxn>
              <a:cxn ang="0">
                <a:pos x="819" y="0"/>
              </a:cxn>
              <a:cxn ang="0">
                <a:pos x="461" y="358"/>
              </a:cxn>
            </a:cxnLst>
            <a:rect l="0" t="0" r="r" b="b"/>
            <a:pathLst>
              <a:path w="923" h="462">
                <a:moveTo>
                  <a:pt x="461" y="358"/>
                </a:moveTo>
                <a:cubicBezTo>
                  <a:pt x="264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98"/>
                  <a:pt x="658" y="358"/>
                  <a:pt x="461" y="358"/>
                </a:cubicBezTo>
                <a:close/>
              </a:path>
            </a:pathLst>
          </a:custGeom>
          <a:solidFill>
            <a:srgbClr val="F2F2F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3"/>
          <p:cNvSpPr>
            <a:spLocks/>
          </p:cNvSpPr>
          <p:nvPr/>
        </p:nvSpPr>
        <p:spPr bwMode="auto">
          <a:xfrm>
            <a:off x="48926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103" y="461"/>
              </a:cxn>
              <a:cxn ang="0">
                <a:pos x="461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3" y="461"/>
                  <a:pt x="103" y="461"/>
                  <a:pt x="103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8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2" y="207"/>
                  <a:pt x="715" y="0"/>
                  <a:pt x="461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4"/>
          <p:cNvSpPr>
            <a:spLocks/>
          </p:cNvSpPr>
          <p:nvPr/>
        </p:nvSpPr>
        <p:spPr bwMode="auto">
          <a:xfrm>
            <a:off x="2782888" y="2918466"/>
            <a:ext cx="2374900" cy="1192213"/>
          </a:xfrm>
          <a:custGeom>
            <a:avLst/>
            <a:gdLst/>
            <a:ahLst/>
            <a:cxnLst>
              <a:cxn ang="0">
                <a:pos x="462" y="358"/>
              </a:cxn>
              <a:cxn ang="0">
                <a:pos x="104" y="0"/>
              </a:cxn>
              <a:cxn ang="0">
                <a:pos x="0" y="0"/>
              </a:cxn>
              <a:cxn ang="0">
                <a:pos x="462" y="462"/>
              </a:cxn>
              <a:cxn ang="0">
                <a:pos x="923" y="0"/>
              </a:cxn>
              <a:cxn ang="0">
                <a:pos x="820" y="0"/>
              </a:cxn>
              <a:cxn ang="0">
                <a:pos x="462" y="358"/>
              </a:cxn>
            </a:cxnLst>
            <a:rect l="0" t="0" r="r" b="b"/>
            <a:pathLst>
              <a:path w="923" h="462">
                <a:moveTo>
                  <a:pt x="462" y="358"/>
                </a:moveTo>
                <a:cubicBezTo>
                  <a:pt x="265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20" y="0"/>
                  <a:pt x="820" y="0"/>
                  <a:pt x="820" y="0"/>
                </a:cubicBezTo>
                <a:cubicBezTo>
                  <a:pt x="819" y="198"/>
                  <a:pt x="659" y="358"/>
                  <a:pt x="462" y="358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21000"/>
          </a:blip>
          <a:stretch>
            <a:fillRect/>
          </a:stretch>
        </p:blipFill>
        <p:spPr>
          <a:xfrm>
            <a:off x="1480305" y="2519873"/>
            <a:ext cx="716366" cy="902706"/>
          </a:xfrm>
          <a:prstGeom prst="rect">
            <a:avLst/>
          </a:prstGeom>
        </p:spPr>
      </p:pic>
      <p:sp>
        <p:nvSpPr>
          <p:cNvPr id="27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Violence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b="0" dirty="0" smtClean="0">
                <a:solidFill>
                  <a:schemeClr val="bg1">
                    <a:lumMod val="95000"/>
                  </a:schemeClr>
                </a:solidFill>
              </a:rPr>
              <a:t>and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Cultural Competence</a:t>
            </a:r>
            <a:endParaRPr lang="en-US" b="0" dirty="0"/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9667" y="2375132"/>
            <a:ext cx="794325" cy="1098800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6">
            <a:alphaModFix amt="10000"/>
            <a:lum bright="-14000" contrast="-70000"/>
          </a:blip>
          <a:stretch>
            <a:fillRect/>
          </a:stretch>
        </p:blipFill>
        <p:spPr>
          <a:xfrm>
            <a:off x="3453665" y="2331532"/>
            <a:ext cx="1012502" cy="1097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84114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Violence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b="0" dirty="0" smtClean="0">
                <a:solidFill>
                  <a:schemeClr val="bg1">
                    <a:lumMod val="95000"/>
                  </a:schemeClr>
                </a:solidFill>
              </a:rPr>
              <a:t>and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Cultural Competence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674703" y="1724081"/>
            <a:ext cx="11161697" cy="4538933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his chapter, you learned about:</a:t>
            </a:r>
          </a:p>
          <a:p>
            <a:pPr marL="800100" lvl="1" indent="-3429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 violence and how it affects children and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ies. 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 violenc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s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your personal values and biases can affect your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ctivity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cultural competence can improve your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ocacy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ps to increase your cultural competency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s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culture’s effects on your values, attitudes and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haviors.</a:t>
            </a:r>
          </a:p>
          <a:p>
            <a:pPr marL="800100" lvl="1" indent="-342900">
              <a:buClr>
                <a:srgbClr val="FF0000"/>
              </a:buClr>
              <a:buFont typeface="Wingdings" panose="05000000000000000000" pitchFamily="2" charset="2"/>
              <a:buChar char="ü"/>
            </a:pP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write a case summary about a child. </a:t>
            </a:r>
          </a:p>
          <a:p>
            <a:pPr>
              <a:buClr>
                <a:srgbClr val="FF0000"/>
              </a:buClr>
            </a:pP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0878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Pre-Work Recap</a:t>
            </a:r>
          </a:p>
        </p:txBody>
      </p:sp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3291840" y="5111527"/>
            <a:ext cx="8643769" cy="641485"/>
          </a:xfrm>
        </p:spPr>
        <p:txBody>
          <a:bodyPr/>
          <a:lstStyle/>
          <a:p>
            <a:pPr lvl="0"/>
            <a:endParaRPr lang="en-US" sz="2800" dirty="0"/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800" dirty="0"/>
          </a:p>
          <a:p>
            <a:r>
              <a:rPr lang="en-US" sz="2400" dirty="0"/>
              <a:t> 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lvl="0" indent="-342900">
              <a:buFont typeface="Wingdings" panose="05000000000000000000" pitchFamily="2" charset="2"/>
              <a:buChar char="ü"/>
            </a:pPr>
            <a:endParaRPr lang="en-US" sz="2400" dirty="0"/>
          </a:p>
        </p:txBody>
      </p:sp>
      <p:grpSp>
        <p:nvGrpSpPr>
          <p:cNvPr id="23" name="Group 22"/>
          <p:cNvGrpSpPr/>
          <p:nvPr/>
        </p:nvGrpSpPr>
        <p:grpSpPr>
          <a:xfrm>
            <a:off x="676275" y="2217559"/>
            <a:ext cx="10807701" cy="2439397"/>
            <a:chOff x="676275" y="2217559"/>
            <a:chExt cx="10807701" cy="2439397"/>
          </a:xfrm>
        </p:grpSpPr>
        <p:grpSp>
          <p:nvGrpSpPr>
            <p:cNvPr id="24" name="Group 23"/>
            <p:cNvGrpSpPr/>
            <p:nvPr/>
          </p:nvGrpSpPr>
          <p:grpSpPr>
            <a:xfrm>
              <a:off x="676275" y="2217559"/>
              <a:ext cx="10807701" cy="2439397"/>
              <a:chOff x="676275" y="2281238"/>
              <a:chExt cx="10807701" cy="2439397"/>
            </a:xfrm>
          </p:grpSpPr>
          <p:sp>
            <p:nvSpPr>
              <p:cNvPr id="26" name="Freeform 5"/>
              <p:cNvSpPr>
                <a:spLocks/>
              </p:cNvSpPr>
              <p:nvPr/>
            </p:nvSpPr>
            <p:spPr bwMode="auto">
              <a:xfrm>
                <a:off x="9107488" y="3528422"/>
                <a:ext cx="2376488" cy="1192213"/>
              </a:xfrm>
              <a:custGeom>
                <a:avLst/>
                <a:gdLst/>
                <a:ahLst/>
                <a:cxnLst>
                  <a:cxn ang="0">
                    <a:pos x="819" y="1"/>
                  </a:cxn>
                  <a:cxn ang="0">
                    <a:pos x="462" y="358"/>
                  </a:cxn>
                  <a:cxn ang="0">
                    <a:pos x="104" y="1"/>
                  </a:cxn>
                  <a:cxn ang="0">
                    <a:pos x="104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462" y="462"/>
                  </a:cxn>
                  <a:cxn ang="0">
                    <a:pos x="923" y="1"/>
                  </a:cxn>
                  <a:cxn ang="0">
                    <a:pos x="923" y="0"/>
                  </a:cxn>
                  <a:cxn ang="0">
                    <a:pos x="819" y="0"/>
                  </a:cxn>
                  <a:cxn ang="0">
                    <a:pos x="819" y="1"/>
                  </a:cxn>
                </a:cxnLst>
                <a:rect l="0" t="0" r="r" b="b"/>
                <a:pathLst>
                  <a:path w="923" h="462">
                    <a:moveTo>
                      <a:pt x="819" y="1"/>
                    </a:moveTo>
                    <a:cubicBezTo>
                      <a:pt x="819" y="198"/>
                      <a:pt x="659" y="358"/>
                      <a:pt x="462" y="358"/>
                    </a:cubicBezTo>
                    <a:cubicBezTo>
                      <a:pt x="264" y="358"/>
                      <a:pt x="104" y="198"/>
                      <a:pt x="104" y="1"/>
                    </a:cubicBezTo>
                    <a:cubicBezTo>
                      <a:pt x="104" y="1"/>
                      <a:pt x="104" y="1"/>
                      <a:pt x="10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55"/>
                      <a:pt x="207" y="462"/>
                      <a:pt x="462" y="462"/>
                    </a:cubicBezTo>
                    <a:cubicBezTo>
                      <a:pt x="716" y="462"/>
                      <a:pt x="923" y="255"/>
                      <a:pt x="923" y="1"/>
                    </a:cubicBezTo>
                    <a:cubicBezTo>
                      <a:pt x="923" y="1"/>
                      <a:pt x="923" y="1"/>
                      <a:pt x="923" y="0"/>
                    </a:cubicBezTo>
                    <a:cubicBezTo>
                      <a:pt x="819" y="0"/>
                      <a:pt x="819" y="0"/>
                      <a:pt x="819" y="0"/>
                    </a:cubicBezTo>
                    <a:cubicBezTo>
                      <a:pt x="819" y="1"/>
                      <a:pt x="819" y="1"/>
                      <a:pt x="819" y="1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6"/>
              <p:cNvSpPr>
                <a:spLocks/>
              </p:cNvSpPr>
              <p:nvPr/>
            </p:nvSpPr>
            <p:spPr bwMode="auto">
              <a:xfrm>
                <a:off x="7000875" y="2339384"/>
                <a:ext cx="2374900" cy="1189038"/>
              </a:xfrm>
              <a:custGeom>
                <a:avLst/>
                <a:gdLst/>
                <a:ahLst/>
                <a:cxnLst>
                  <a:cxn ang="0">
                    <a:pos x="461" y="0"/>
                  </a:cxn>
                  <a:cxn ang="0">
                    <a:pos x="0" y="461"/>
                  </a:cxn>
                  <a:cxn ang="0">
                    <a:pos x="0" y="461"/>
                  </a:cxn>
                  <a:cxn ang="0">
                    <a:pos x="104" y="461"/>
                  </a:cxn>
                  <a:cxn ang="0">
                    <a:pos x="104" y="461"/>
                  </a:cxn>
                  <a:cxn ang="0">
                    <a:pos x="461" y="104"/>
                  </a:cxn>
                  <a:cxn ang="0">
                    <a:pos x="819" y="461"/>
                  </a:cxn>
                  <a:cxn ang="0">
                    <a:pos x="819" y="461"/>
                  </a:cxn>
                  <a:cxn ang="0">
                    <a:pos x="923" y="461"/>
                  </a:cxn>
                  <a:cxn ang="0">
                    <a:pos x="923" y="461"/>
                  </a:cxn>
                  <a:cxn ang="0">
                    <a:pos x="461" y="0"/>
                  </a:cxn>
                </a:cxnLst>
                <a:rect l="0" t="0" r="r" b="b"/>
                <a:pathLst>
                  <a:path w="923" h="461">
                    <a:moveTo>
                      <a:pt x="461" y="0"/>
                    </a:moveTo>
                    <a:cubicBezTo>
                      <a:pt x="207" y="0"/>
                      <a:pt x="0" y="207"/>
                      <a:pt x="0" y="461"/>
                    </a:cubicBezTo>
                    <a:cubicBezTo>
                      <a:pt x="0" y="461"/>
                      <a:pt x="0" y="461"/>
                      <a:pt x="0" y="461"/>
                    </a:cubicBezTo>
                    <a:cubicBezTo>
                      <a:pt x="104" y="461"/>
                      <a:pt x="104" y="461"/>
                      <a:pt x="104" y="461"/>
                    </a:cubicBezTo>
                    <a:cubicBezTo>
                      <a:pt x="104" y="461"/>
                      <a:pt x="104" y="461"/>
                      <a:pt x="104" y="461"/>
                    </a:cubicBezTo>
                    <a:cubicBezTo>
                      <a:pt x="104" y="264"/>
                      <a:pt x="264" y="104"/>
                      <a:pt x="461" y="104"/>
                    </a:cubicBezTo>
                    <a:cubicBezTo>
                      <a:pt x="659" y="104"/>
                      <a:pt x="819" y="264"/>
                      <a:pt x="819" y="461"/>
                    </a:cubicBezTo>
                    <a:cubicBezTo>
                      <a:pt x="819" y="461"/>
                      <a:pt x="819" y="461"/>
                      <a:pt x="819" y="461"/>
                    </a:cubicBezTo>
                    <a:cubicBezTo>
                      <a:pt x="923" y="461"/>
                      <a:pt x="923" y="461"/>
                      <a:pt x="923" y="461"/>
                    </a:cubicBezTo>
                    <a:cubicBezTo>
                      <a:pt x="923" y="461"/>
                      <a:pt x="923" y="461"/>
                      <a:pt x="923" y="461"/>
                    </a:cubicBezTo>
                    <a:cubicBezTo>
                      <a:pt x="923" y="207"/>
                      <a:pt x="716" y="0"/>
                      <a:pt x="461" y="0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7"/>
              <p:cNvSpPr>
                <a:spLocks/>
              </p:cNvSpPr>
              <p:nvPr/>
            </p:nvSpPr>
            <p:spPr bwMode="auto">
              <a:xfrm>
                <a:off x="4892675" y="3470276"/>
                <a:ext cx="2374900" cy="1192213"/>
              </a:xfrm>
              <a:custGeom>
                <a:avLst/>
                <a:gdLst/>
                <a:ahLst/>
                <a:cxnLst>
                  <a:cxn ang="0">
                    <a:pos x="819" y="1"/>
                  </a:cxn>
                  <a:cxn ang="0">
                    <a:pos x="461" y="359"/>
                  </a:cxn>
                  <a:cxn ang="0">
                    <a:pos x="103" y="1"/>
                  </a:cxn>
                  <a:cxn ang="0">
                    <a:pos x="10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461" y="462"/>
                  </a:cxn>
                  <a:cxn ang="0">
                    <a:pos x="923" y="1"/>
                  </a:cxn>
                  <a:cxn ang="0">
                    <a:pos x="923" y="0"/>
                  </a:cxn>
                  <a:cxn ang="0">
                    <a:pos x="819" y="0"/>
                  </a:cxn>
                  <a:cxn ang="0">
                    <a:pos x="819" y="1"/>
                  </a:cxn>
                </a:cxnLst>
                <a:rect l="0" t="0" r="r" b="b"/>
                <a:pathLst>
                  <a:path w="923" h="462">
                    <a:moveTo>
                      <a:pt x="819" y="1"/>
                    </a:moveTo>
                    <a:cubicBezTo>
                      <a:pt x="819" y="198"/>
                      <a:pt x="658" y="359"/>
                      <a:pt x="461" y="359"/>
                    </a:cubicBezTo>
                    <a:cubicBezTo>
                      <a:pt x="264" y="359"/>
                      <a:pt x="103" y="198"/>
                      <a:pt x="103" y="1"/>
                    </a:cubicBezTo>
                    <a:cubicBezTo>
                      <a:pt x="103" y="1"/>
                      <a:pt x="103" y="1"/>
                      <a:pt x="103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55"/>
                      <a:pt x="207" y="462"/>
                      <a:pt x="461" y="462"/>
                    </a:cubicBezTo>
                    <a:cubicBezTo>
                      <a:pt x="716" y="462"/>
                      <a:pt x="923" y="255"/>
                      <a:pt x="923" y="1"/>
                    </a:cubicBezTo>
                    <a:cubicBezTo>
                      <a:pt x="923" y="1"/>
                      <a:pt x="923" y="1"/>
                      <a:pt x="923" y="0"/>
                    </a:cubicBezTo>
                    <a:cubicBezTo>
                      <a:pt x="819" y="0"/>
                      <a:pt x="819" y="0"/>
                      <a:pt x="819" y="0"/>
                    </a:cubicBezTo>
                    <a:cubicBezTo>
                      <a:pt x="819" y="1"/>
                      <a:pt x="819" y="1"/>
                      <a:pt x="819" y="1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8"/>
              <p:cNvSpPr>
                <a:spLocks/>
              </p:cNvSpPr>
              <p:nvPr/>
            </p:nvSpPr>
            <p:spPr bwMode="auto">
              <a:xfrm>
                <a:off x="2782888" y="2339384"/>
                <a:ext cx="2374900" cy="1189038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0" y="461"/>
                  </a:cxn>
                  <a:cxn ang="0">
                    <a:pos x="0" y="461"/>
                  </a:cxn>
                  <a:cxn ang="0">
                    <a:pos x="104" y="461"/>
                  </a:cxn>
                  <a:cxn ang="0">
                    <a:pos x="104" y="461"/>
                  </a:cxn>
                  <a:cxn ang="0">
                    <a:pos x="462" y="104"/>
                  </a:cxn>
                  <a:cxn ang="0">
                    <a:pos x="820" y="461"/>
                  </a:cxn>
                  <a:cxn ang="0">
                    <a:pos x="820" y="461"/>
                  </a:cxn>
                  <a:cxn ang="0">
                    <a:pos x="923" y="461"/>
                  </a:cxn>
                  <a:cxn ang="0">
                    <a:pos x="923" y="461"/>
                  </a:cxn>
                  <a:cxn ang="0">
                    <a:pos x="462" y="0"/>
                  </a:cxn>
                </a:cxnLst>
                <a:rect l="0" t="0" r="r" b="b"/>
                <a:pathLst>
                  <a:path w="923" h="461">
                    <a:moveTo>
                      <a:pt x="462" y="0"/>
                    </a:moveTo>
                    <a:cubicBezTo>
                      <a:pt x="207" y="0"/>
                      <a:pt x="0" y="207"/>
                      <a:pt x="0" y="461"/>
                    </a:cubicBezTo>
                    <a:cubicBezTo>
                      <a:pt x="0" y="461"/>
                      <a:pt x="0" y="461"/>
                      <a:pt x="0" y="461"/>
                    </a:cubicBezTo>
                    <a:cubicBezTo>
                      <a:pt x="104" y="461"/>
                      <a:pt x="104" y="461"/>
                      <a:pt x="104" y="461"/>
                    </a:cubicBezTo>
                    <a:cubicBezTo>
                      <a:pt x="104" y="461"/>
                      <a:pt x="104" y="461"/>
                      <a:pt x="104" y="461"/>
                    </a:cubicBezTo>
                    <a:cubicBezTo>
                      <a:pt x="104" y="264"/>
                      <a:pt x="265" y="104"/>
                      <a:pt x="462" y="104"/>
                    </a:cubicBezTo>
                    <a:cubicBezTo>
                      <a:pt x="659" y="104"/>
                      <a:pt x="820" y="264"/>
                      <a:pt x="820" y="461"/>
                    </a:cubicBezTo>
                    <a:cubicBezTo>
                      <a:pt x="820" y="461"/>
                      <a:pt x="820" y="461"/>
                      <a:pt x="820" y="461"/>
                    </a:cubicBezTo>
                    <a:cubicBezTo>
                      <a:pt x="923" y="461"/>
                      <a:pt x="923" y="461"/>
                      <a:pt x="923" y="461"/>
                    </a:cubicBezTo>
                    <a:cubicBezTo>
                      <a:pt x="923" y="461"/>
                      <a:pt x="923" y="461"/>
                      <a:pt x="923" y="461"/>
                    </a:cubicBezTo>
                    <a:cubicBezTo>
                      <a:pt x="923" y="207"/>
                      <a:pt x="716" y="0"/>
                      <a:pt x="462" y="0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0" name="Group 29"/>
              <p:cNvGrpSpPr/>
              <p:nvPr/>
            </p:nvGrpSpPr>
            <p:grpSpPr>
              <a:xfrm>
                <a:off x="676275" y="2281238"/>
                <a:ext cx="2374900" cy="2381251"/>
                <a:chOff x="676275" y="2281238"/>
                <a:chExt cx="2374900" cy="2381251"/>
              </a:xfrm>
            </p:grpSpPr>
            <p:sp>
              <p:nvSpPr>
                <p:cNvPr id="35" name="Freeform 9"/>
                <p:cNvSpPr>
                  <a:spLocks/>
                </p:cNvSpPr>
                <p:nvPr/>
              </p:nvSpPr>
              <p:spPr bwMode="auto">
                <a:xfrm>
                  <a:off x="676275" y="3470276"/>
                  <a:ext cx="2374900" cy="1192213"/>
                </a:xfrm>
                <a:custGeom>
                  <a:avLst/>
                  <a:gdLst/>
                  <a:ahLst/>
                  <a:cxnLst>
                    <a:cxn ang="0">
                      <a:pos x="819" y="1"/>
                    </a:cxn>
                    <a:cxn ang="0">
                      <a:pos x="462" y="359"/>
                    </a:cxn>
                    <a:cxn ang="0">
                      <a:pos x="104" y="1"/>
                    </a:cxn>
                    <a:cxn ang="0">
                      <a:pos x="104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462" y="462"/>
                    </a:cxn>
                    <a:cxn ang="0">
                      <a:pos x="923" y="1"/>
                    </a:cxn>
                    <a:cxn ang="0">
                      <a:pos x="923" y="0"/>
                    </a:cxn>
                    <a:cxn ang="0">
                      <a:pos x="819" y="0"/>
                    </a:cxn>
                    <a:cxn ang="0">
                      <a:pos x="819" y="1"/>
                    </a:cxn>
                  </a:cxnLst>
                  <a:rect l="0" t="0" r="r" b="b"/>
                  <a:pathLst>
                    <a:path w="923" h="462">
                      <a:moveTo>
                        <a:pt x="819" y="1"/>
                      </a:moveTo>
                      <a:cubicBezTo>
                        <a:pt x="819" y="198"/>
                        <a:pt x="659" y="359"/>
                        <a:pt x="462" y="359"/>
                      </a:cubicBezTo>
                      <a:cubicBezTo>
                        <a:pt x="264" y="359"/>
                        <a:pt x="104" y="198"/>
                        <a:pt x="104" y="1"/>
                      </a:cubicBezTo>
                      <a:cubicBezTo>
                        <a:pt x="104" y="1"/>
                        <a:pt x="104" y="1"/>
                        <a:pt x="104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55"/>
                        <a:pt x="207" y="462"/>
                        <a:pt x="462" y="462"/>
                      </a:cubicBezTo>
                      <a:cubicBezTo>
                        <a:pt x="716" y="462"/>
                        <a:pt x="923" y="255"/>
                        <a:pt x="923" y="1"/>
                      </a:cubicBezTo>
                      <a:cubicBezTo>
                        <a:pt x="923" y="1"/>
                        <a:pt x="923" y="1"/>
                        <a:pt x="923" y="0"/>
                      </a:cubicBezTo>
                      <a:cubicBezTo>
                        <a:pt x="819" y="0"/>
                        <a:pt x="819" y="0"/>
                        <a:pt x="819" y="0"/>
                      </a:cubicBezTo>
                      <a:cubicBezTo>
                        <a:pt x="819" y="1"/>
                        <a:pt x="819" y="1"/>
                        <a:pt x="819" y="1"/>
                      </a:cubicBezTo>
                      <a:close/>
                    </a:path>
                  </a:pathLst>
                </a:custGeom>
                <a:solidFill>
                  <a:srgbClr val="BBCFE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6" name="Freeform 10"/>
                <p:cNvSpPr>
                  <a:spLocks/>
                </p:cNvSpPr>
                <p:nvPr/>
              </p:nvSpPr>
              <p:spPr bwMode="auto">
                <a:xfrm>
                  <a:off x="676275" y="2281238"/>
                  <a:ext cx="2374900" cy="1189038"/>
                </a:xfrm>
                <a:custGeom>
                  <a:avLst/>
                  <a:gdLst/>
                  <a:ahLst/>
                  <a:cxnLst>
                    <a:cxn ang="0">
                      <a:pos x="462" y="0"/>
                    </a:cxn>
                    <a:cxn ang="0">
                      <a:pos x="0" y="461"/>
                    </a:cxn>
                    <a:cxn ang="0">
                      <a:pos x="104" y="461"/>
                    </a:cxn>
                    <a:cxn ang="0">
                      <a:pos x="462" y="104"/>
                    </a:cxn>
                    <a:cxn ang="0">
                      <a:pos x="819" y="461"/>
                    </a:cxn>
                    <a:cxn ang="0">
                      <a:pos x="923" y="461"/>
                    </a:cxn>
                    <a:cxn ang="0">
                      <a:pos x="462" y="0"/>
                    </a:cxn>
                  </a:cxnLst>
                  <a:rect l="0" t="0" r="r" b="b"/>
                  <a:pathLst>
                    <a:path w="923" h="461">
                      <a:moveTo>
                        <a:pt x="462" y="0"/>
                      </a:moveTo>
                      <a:cubicBezTo>
                        <a:pt x="207" y="0"/>
                        <a:pt x="0" y="207"/>
                        <a:pt x="0" y="461"/>
                      </a:cubicBezTo>
                      <a:cubicBezTo>
                        <a:pt x="104" y="461"/>
                        <a:pt x="104" y="461"/>
                        <a:pt x="104" y="461"/>
                      </a:cubicBezTo>
                      <a:cubicBezTo>
                        <a:pt x="104" y="264"/>
                        <a:pt x="264" y="104"/>
                        <a:pt x="462" y="104"/>
                      </a:cubicBezTo>
                      <a:cubicBezTo>
                        <a:pt x="659" y="104"/>
                        <a:pt x="819" y="264"/>
                        <a:pt x="819" y="461"/>
                      </a:cubicBezTo>
                      <a:cubicBezTo>
                        <a:pt x="923" y="461"/>
                        <a:pt x="923" y="461"/>
                        <a:pt x="923" y="461"/>
                      </a:cubicBezTo>
                      <a:cubicBezTo>
                        <a:pt x="923" y="207"/>
                        <a:pt x="716" y="0"/>
                        <a:pt x="462" y="0"/>
                      </a:cubicBezTo>
                      <a:close/>
                    </a:path>
                  </a:pathLst>
                </a:custGeom>
                <a:solidFill>
                  <a:srgbClr val="192F44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31" name="Freeform 11"/>
              <p:cNvSpPr>
                <a:spLocks/>
              </p:cNvSpPr>
              <p:nvPr/>
            </p:nvSpPr>
            <p:spPr bwMode="auto">
              <a:xfrm>
                <a:off x="9107488" y="2339384"/>
                <a:ext cx="2376488" cy="1189038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0" y="461"/>
                  </a:cxn>
                  <a:cxn ang="0">
                    <a:pos x="104" y="461"/>
                  </a:cxn>
                  <a:cxn ang="0">
                    <a:pos x="462" y="104"/>
                  </a:cxn>
                  <a:cxn ang="0">
                    <a:pos x="819" y="461"/>
                  </a:cxn>
                  <a:cxn ang="0">
                    <a:pos x="923" y="461"/>
                  </a:cxn>
                  <a:cxn ang="0">
                    <a:pos x="462" y="0"/>
                  </a:cxn>
                </a:cxnLst>
                <a:rect l="0" t="0" r="r" b="b"/>
                <a:pathLst>
                  <a:path w="923" h="461">
                    <a:moveTo>
                      <a:pt x="462" y="0"/>
                    </a:moveTo>
                    <a:cubicBezTo>
                      <a:pt x="207" y="0"/>
                      <a:pt x="0" y="207"/>
                      <a:pt x="0" y="461"/>
                    </a:cubicBezTo>
                    <a:cubicBezTo>
                      <a:pt x="104" y="461"/>
                      <a:pt x="104" y="461"/>
                      <a:pt x="104" y="461"/>
                    </a:cubicBezTo>
                    <a:cubicBezTo>
                      <a:pt x="104" y="264"/>
                      <a:pt x="264" y="104"/>
                      <a:pt x="462" y="104"/>
                    </a:cubicBezTo>
                    <a:cubicBezTo>
                      <a:pt x="659" y="104"/>
                      <a:pt x="819" y="264"/>
                      <a:pt x="819" y="461"/>
                    </a:cubicBezTo>
                    <a:cubicBezTo>
                      <a:pt x="923" y="461"/>
                      <a:pt x="923" y="461"/>
                      <a:pt x="923" y="461"/>
                    </a:cubicBezTo>
                    <a:cubicBezTo>
                      <a:pt x="923" y="207"/>
                      <a:pt x="716" y="0"/>
                      <a:pt x="462" y="0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12"/>
              <p:cNvSpPr>
                <a:spLocks/>
              </p:cNvSpPr>
              <p:nvPr/>
            </p:nvSpPr>
            <p:spPr bwMode="auto">
              <a:xfrm>
                <a:off x="7000875" y="3470276"/>
                <a:ext cx="2374900" cy="1192213"/>
              </a:xfrm>
              <a:custGeom>
                <a:avLst/>
                <a:gdLst/>
                <a:ahLst/>
                <a:cxnLst>
                  <a:cxn ang="0">
                    <a:pos x="461" y="358"/>
                  </a:cxn>
                  <a:cxn ang="0">
                    <a:pos x="104" y="0"/>
                  </a:cxn>
                  <a:cxn ang="0">
                    <a:pos x="0" y="0"/>
                  </a:cxn>
                  <a:cxn ang="0">
                    <a:pos x="461" y="462"/>
                  </a:cxn>
                  <a:cxn ang="0">
                    <a:pos x="923" y="0"/>
                  </a:cxn>
                  <a:cxn ang="0">
                    <a:pos x="819" y="0"/>
                  </a:cxn>
                  <a:cxn ang="0">
                    <a:pos x="461" y="358"/>
                  </a:cxn>
                </a:cxnLst>
                <a:rect l="0" t="0" r="r" b="b"/>
                <a:pathLst>
                  <a:path w="923" h="462">
                    <a:moveTo>
                      <a:pt x="461" y="358"/>
                    </a:moveTo>
                    <a:cubicBezTo>
                      <a:pt x="264" y="358"/>
                      <a:pt x="104" y="198"/>
                      <a:pt x="10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55"/>
                      <a:pt x="207" y="462"/>
                      <a:pt x="461" y="462"/>
                    </a:cubicBezTo>
                    <a:cubicBezTo>
                      <a:pt x="716" y="462"/>
                      <a:pt x="923" y="255"/>
                      <a:pt x="923" y="0"/>
                    </a:cubicBezTo>
                    <a:cubicBezTo>
                      <a:pt x="819" y="0"/>
                      <a:pt x="819" y="0"/>
                      <a:pt x="819" y="0"/>
                    </a:cubicBezTo>
                    <a:cubicBezTo>
                      <a:pt x="819" y="198"/>
                      <a:pt x="658" y="358"/>
                      <a:pt x="461" y="358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13"/>
              <p:cNvSpPr>
                <a:spLocks/>
              </p:cNvSpPr>
              <p:nvPr/>
            </p:nvSpPr>
            <p:spPr bwMode="auto">
              <a:xfrm>
                <a:off x="4892675" y="2339384"/>
                <a:ext cx="2374900" cy="1189038"/>
              </a:xfrm>
              <a:custGeom>
                <a:avLst/>
                <a:gdLst/>
                <a:ahLst/>
                <a:cxnLst>
                  <a:cxn ang="0">
                    <a:pos x="461" y="0"/>
                  </a:cxn>
                  <a:cxn ang="0">
                    <a:pos x="0" y="461"/>
                  </a:cxn>
                  <a:cxn ang="0">
                    <a:pos x="103" y="461"/>
                  </a:cxn>
                  <a:cxn ang="0">
                    <a:pos x="461" y="104"/>
                  </a:cxn>
                  <a:cxn ang="0">
                    <a:pos x="819" y="461"/>
                  </a:cxn>
                  <a:cxn ang="0">
                    <a:pos x="923" y="461"/>
                  </a:cxn>
                  <a:cxn ang="0">
                    <a:pos x="461" y="0"/>
                  </a:cxn>
                </a:cxnLst>
                <a:rect l="0" t="0" r="r" b="b"/>
                <a:pathLst>
                  <a:path w="923" h="461">
                    <a:moveTo>
                      <a:pt x="461" y="0"/>
                    </a:moveTo>
                    <a:cubicBezTo>
                      <a:pt x="207" y="0"/>
                      <a:pt x="0" y="207"/>
                      <a:pt x="0" y="461"/>
                    </a:cubicBezTo>
                    <a:cubicBezTo>
                      <a:pt x="103" y="461"/>
                      <a:pt x="103" y="461"/>
                      <a:pt x="103" y="461"/>
                    </a:cubicBezTo>
                    <a:cubicBezTo>
                      <a:pt x="104" y="264"/>
                      <a:pt x="264" y="104"/>
                      <a:pt x="461" y="104"/>
                    </a:cubicBezTo>
                    <a:cubicBezTo>
                      <a:pt x="658" y="104"/>
                      <a:pt x="819" y="264"/>
                      <a:pt x="819" y="461"/>
                    </a:cubicBezTo>
                    <a:cubicBezTo>
                      <a:pt x="923" y="461"/>
                      <a:pt x="923" y="461"/>
                      <a:pt x="923" y="461"/>
                    </a:cubicBezTo>
                    <a:cubicBezTo>
                      <a:pt x="922" y="207"/>
                      <a:pt x="715" y="0"/>
                      <a:pt x="461" y="0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Freeform 14"/>
              <p:cNvSpPr>
                <a:spLocks/>
              </p:cNvSpPr>
              <p:nvPr/>
            </p:nvSpPr>
            <p:spPr bwMode="auto">
              <a:xfrm>
                <a:off x="2782888" y="3477622"/>
                <a:ext cx="2374900" cy="1192213"/>
              </a:xfrm>
              <a:custGeom>
                <a:avLst/>
                <a:gdLst/>
                <a:ahLst/>
                <a:cxnLst>
                  <a:cxn ang="0">
                    <a:pos x="462" y="358"/>
                  </a:cxn>
                  <a:cxn ang="0">
                    <a:pos x="104" y="0"/>
                  </a:cxn>
                  <a:cxn ang="0">
                    <a:pos x="0" y="0"/>
                  </a:cxn>
                  <a:cxn ang="0">
                    <a:pos x="462" y="462"/>
                  </a:cxn>
                  <a:cxn ang="0">
                    <a:pos x="923" y="0"/>
                  </a:cxn>
                  <a:cxn ang="0">
                    <a:pos x="820" y="0"/>
                  </a:cxn>
                  <a:cxn ang="0">
                    <a:pos x="462" y="358"/>
                  </a:cxn>
                </a:cxnLst>
                <a:rect l="0" t="0" r="r" b="b"/>
                <a:pathLst>
                  <a:path w="923" h="462">
                    <a:moveTo>
                      <a:pt x="462" y="358"/>
                    </a:moveTo>
                    <a:cubicBezTo>
                      <a:pt x="265" y="358"/>
                      <a:pt x="104" y="198"/>
                      <a:pt x="10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55"/>
                      <a:pt x="207" y="462"/>
                      <a:pt x="462" y="462"/>
                    </a:cubicBezTo>
                    <a:cubicBezTo>
                      <a:pt x="716" y="462"/>
                      <a:pt x="923" y="255"/>
                      <a:pt x="923" y="0"/>
                    </a:cubicBezTo>
                    <a:cubicBezTo>
                      <a:pt x="820" y="0"/>
                      <a:pt x="820" y="0"/>
                      <a:pt x="820" y="0"/>
                    </a:cubicBezTo>
                    <a:cubicBezTo>
                      <a:pt x="819" y="198"/>
                      <a:pt x="659" y="358"/>
                      <a:pt x="462" y="358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16144" y="2939542"/>
              <a:ext cx="733480" cy="924273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7C3F5B6D-2E2E-42C3-A465-A985CE36DE3E}"/>
              </a:ext>
            </a:extLst>
          </p:cNvPr>
          <p:cNvSpPr/>
          <p:nvPr/>
        </p:nvSpPr>
        <p:spPr>
          <a:xfrm>
            <a:off x="3337286" y="1757787"/>
            <a:ext cx="8264688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ED1B2E"/>
              </a:buClr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ead pages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200-217,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Understanding Domestic Violence through Initial Case Notes for the Amarillo Case, and complete the following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buClr>
                <a:srgbClr val="ED1B2E"/>
              </a:buClr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buClr>
                <a:srgbClr val="ED1B2E"/>
              </a:buClr>
              <a:buFont typeface="Wingdings" panose="05000000000000000000" pitchFamily="2" charset="2"/>
              <a:buChar char="q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rite down any questions you have after reading the Understanding Domestic Violence section.</a:t>
            </a:r>
          </a:p>
          <a:p>
            <a:pPr marL="342900" lvl="0" indent="-342900">
              <a:buClr>
                <a:srgbClr val="ED1B2E"/>
              </a:buClr>
              <a:buFont typeface="Wingdings" panose="05000000000000000000" pitchFamily="2" charset="2"/>
              <a:buChar char="q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mplete the Sorting People Online Activity. </a:t>
            </a:r>
          </a:p>
          <a:p>
            <a:pPr marL="342900" lvl="0" indent="-342900">
              <a:buClr>
                <a:srgbClr val="ED1B2E"/>
              </a:buClr>
              <a:buFont typeface="Wingdings" panose="05000000000000000000" pitchFamily="2" charset="2"/>
              <a:buChar char="q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mplete the Exploring Culture and Perceptions Activity.</a:t>
            </a:r>
          </a:p>
          <a:p>
            <a:pPr marL="342900" lvl="0" indent="-342900">
              <a:buClr>
                <a:srgbClr val="ED1B2E"/>
              </a:buClr>
              <a:buFont typeface="Wingdings" panose="05000000000000000000" pitchFamily="2" charset="2"/>
              <a:buChar char="q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omplete the Culturally Competent Child Advocacy Activity.</a:t>
            </a:r>
          </a:p>
        </p:txBody>
      </p:sp>
    </p:spTree>
    <p:extLst>
      <p:ext uri="{BB962C8B-B14F-4D97-AF65-F5344CB8AC3E}">
        <p14:creationId xmlns:p14="http://schemas.microsoft.com/office/powerpoint/2010/main" val="11538942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Evaluation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676275" y="2249708"/>
            <a:ext cx="10807701" cy="2381251"/>
            <a:chOff x="676275" y="2281238"/>
            <a:chExt cx="10807701" cy="2381251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939431" y="3065871"/>
              <a:ext cx="809435" cy="812462"/>
            </a:xfrm>
            <a:prstGeom prst="rect">
              <a:avLst/>
            </a:prstGeom>
            <a:solidFill>
              <a:srgbClr val="F8F8F8"/>
            </a:solidFill>
            <a:ln w="9525">
              <a:solidFill>
                <a:srgbClr val="F7F7F7"/>
              </a:solidFill>
              <a:round/>
              <a:headEnd/>
              <a:tailEnd/>
            </a:ln>
          </p:spPr>
        </p:pic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9107488" y="3470276"/>
              <a:ext cx="2376488" cy="1192213"/>
            </a:xfrm>
            <a:custGeom>
              <a:avLst/>
              <a:gdLst/>
              <a:ahLst/>
              <a:cxnLst>
                <a:cxn ang="0">
                  <a:pos x="819" y="1"/>
                </a:cxn>
                <a:cxn ang="0">
                  <a:pos x="462" y="358"/>
                </a:cxn>
                <a:cxn ang="0">
                  <a:pos x="104" y="1"/>
                </a:cxn>
                <a:cxn ang="0">
                  <a:pos x="104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462" y="462"/>
                </a:cxn>
                <a:cxn ang="0">
                  <a:pos x="923" y="1"/>
                </a:cxn>
                <a:cxn ang="0">
                  <a:pos x="923" y="0"/>
                </a:cxn>
                <a:cxn ang="0">
                  <a:pos x="819" y="0"/>
                </a:cxn>
                <a:cxn ang="0">
                  <a:pos x="819" y="1"/>
                </a:cxn>
              </a:cxnLst>
              <a:rect l="0" t="0" r="r" b="b"/>
              <a:pathLst>
                <a:path w="923" h="462">
                  <a:moveTo>
                    <a:pt x="819" y="1"/>
                  </a:moveTo>
                  <a:cubicBezTo>
                    <a:pt x="819" y="198"/>
                    <a:pt x="659" y="358"/>
                    <a:pt x="462" y="358"/>
                  </a:cubicBezTo>
                  <a:cubicBezTo>
                    <a:pt x="264" y="358"/>
                    <a:pt x="104" y="198"/>
                    <a:pt x="104" y="1"/>
                  </a:cubicBezTo>
                  <a:cubicBezTo>
                    <a:pt x="104" y="1"/>
                    <a:pt x="104" y="1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55"/>
                    <a:pt x="207" y="462"/>
                    <a:pt x="462" y="462"/>
                  </a:cubicBezTo>
                  <a:cubicBezTo>
                    <a:pt x="716" y="462"/>
                    <a:pt x="923" y="255"/>
                    <a:pt x="923" y="1"/>
                  </a:cubicBezTo>
                  <a:cubicBezTo>
                    <a:pt x="923" y="1"/>
                    <a:pt x="923" y="1"/>
                    <a:pt x="923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1"/>
                    <a:pt x="819" y="1"/>
                    <a:pt x="819" y="1"/>
                  </a:cubicBezTo>
                  <a:close/>
                </a:path>
              </a:pathLst>
            </a:custGeom>
            <a:solidFill>
              <a:srgbClr val="BBCFE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7000875" y="2281238"/>
              <a:ext cx="2374900" cy="1189038"/>
            </a:xfrm>
            <a:custGeom>
              <a:avLst/>
              <a:gdLst/>
              <a:ahLst/>
              <a:cxnLst>
                <a:cxn ang="0">
                  <a:pos x="461" y="0"/>
                </a:cxn>
                <a:cxn ang="0">
                  <a:pos x="0" y="461"/>
                </a:cxn>
                <a:cxn ang="0">
                  <a:pos x="0" y="461"/>
                </a:cxn>
                <a:cxn ang="0">
                  <a:pos x="104" y="461"/>
                </a:cxn>
                <a:cxn ang="0">
                  <a:pos x="104" y="461"/>
                </a:cxn>
                <a:cxn ang="0">
                  <a:pos x="461" y="104"/>
                </a:cxn>
                <a:cxn ang="0">
                  <a:pos x="819" y="461"/>
                </a:cxn>
                <a:cxn ang="0">
                  <a:pos x="819" y="461"/>
                </a:cxn>
                <a:cxn ang="0">
                  <a:pos x="923" y="461"/>
                </a:cxn>
                <a:cxn ang="0">
                  <a:pos x="923" y="461"/>
                </a:cxn>
                <a:cxn ang="0">
                  <a:pos x="461" y="0"/>
                </a:cxn>
              </a:cxnLst>
              <a:rect l="0" t="0" r="r" b="b"/>
              <a:pathLst>
                <a:path w="923" h="461">
                  <a:moveTo>
                    <a:pt x="461" y="0"/>
                  </a:moveTo>
                  <a:cubicBezTo>
                    <a:pt x="207" y="0"/>
                    <a:pt x="0" y="207"/>
                    <a:pt x="0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264"/>
                    <a:pt x="264" y="104"/>
                    <a:pt x="461" y="104"/>
                  </a:cubicBezTo>
                  <a:cubicBezTo>
                    <a:pt x="659" y="104"/>
                    <a:pt x="819" y="264"/>
                    <a:pt x="819" y="461"/>
                  </a:cubicBezTo>
                  <a:cubicBezTo>
                    <a:pt x="819" y="461"/>
                    <a:pt x="819" y="461"/>
                    <a:pt x="819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207"/>
                    <a:pt x="716" y="0"/>
                    <a:pt x="461" y="0"/>
                  </a:cubicBezTo>
                  <a:close/>
                </a:path>
              </a:pathLst>
            </a:custGeom>
            <a:solidFill>
              <a:srgbClr val="F8F8F8"/>
            </a:solidFill>
            <a:ln w="9525">
              <a:solidFill>
                <a:srgbClr val="F7F7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4892675" y="3470276"/>
              <a:ext cx="2374900" cy="1192213"/>
            </a:xfrm>
            <a:custGeom>
              <a:avLst/>
              <a:gdLst/>
              <a:ahLst/>
              <a:cxnLst>
                <a:cxn ang="0">
                  <a:pos x="819" y="1"/>
                </a:cxn>
                <a:cxn ang="0">
                  <a:pos x="461" y="359"/>
                </a:cxn>
                <a:cxn ang="0">
                  <a:pos x="103" y="1"/>
                </a:cxn>
                <a:cxn ang="0">
                  <a:pos x="103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461" y="462"/>
                </a:cxn>
                <a:cxn ang="0">
                  <a:pos x="923" y="1"/>
                </a:cxn>
                <a:cxn ang="0">
                  <a:pos x="923" y="0"/>
                </a:cxn>
                <a:cxn ang="0">
                  <a:pos x="819" y="0"/>
                </a:cxn>
                <a:cxn ang="0">
                  <a:pos x="819" y="1"/>
                </a:cxn>
              </a:cxnLst>
              <a:rect l="0" t="0" r="r" b="b"/>
              <a:pathLst>
                <a:path w="923" h="462">
                  <a:moveTo>
                    <a:pt x="819" y="1"/>
                  </a:moveTo>
                  <a:cubicBezTo>
                    <a:pt x="819" y="198"/>
                    <a:pt x="658" y="359"/>
                    <a:pt x="461" y="359"/>
                  </a:cubicBezTo>
                  <a:cubicBezTo>
                    <a:pt x="264" y="359"/>
                    <a:pt x="103" y="198"/>
                    <a:pt x="103" y="1"/>
                  </a:cubicBezTo>
                  <a:cubicBezTo>
                    <a:pt x="103" y="1"/>
                    <a:pt x="103" y="1"/>
                    <a:pt x="10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55"/>
                    <a:pt x="207" y="462"/>
                    <a:pt x="461" y="462"/>
                  </a:cubicBezTo>
                  <a:cubicBezTo>
                    <a:pt x="716" y="462"/>
                    <a:pt x="923" y="255"/>
                    <a:pt x="923" y="1"/>
                  </a:cubicBezTo>
                  <a:cubicBezTo>
                    <a:pt x="923" y="1"/>
                    <a:pt x="923" y="1"/>
                    <a:pt x="923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1"/>
                    <a:pt x="819" y="1"/>
                    <a:pt x="819" y="1"/>
                  </a:cubicBezTo>
                  <a:close/>
                </a:path>
              </a:pathLst>
            </a:custGeom>
            <a:solidFill>
              <a:srgbClr val="F8F8F8"/>
            </a:solidFill>
            <a:ln w="9525">
              <a:solidFill>
                <a:srgbClr val="F7F7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2782888" y="2281238"/>
              <a:ext cx="2374900" cy="1189038"/>
            </a:xfrm>
            <a:custGeom>
              <a:avLst/>
              <a:gdLst/>
              <a:ahLst/>
              <a:cxnLst>
                <a:cxn ang="0">
                  <a:pos x="462" y="0"/>
                </a:cxn>
                <a:cxn ang="0">
                  <a:pos x="0" y="461"/>
                </a:cxn>
                <a:cxn ang="0">
                  <a:pos x="0" y="461"/>
                </a:cxn>
                <a:cxn ang="0">
                  <a:pos x="104" y="461"/>
                </a:cxn>
                <a:cxn ang="0">
                  <a:pos x="104" y="461"/>
                </a:cxn>
                <a:cxn ang="0">
                  <a:pos x="462" y="104"/>
                </a:cxn>
                <a:cxn ang="0">
                  <a:pos x="820" y="461"/>
                </a:cxn>
                <a:cxn ang="0">
                  <a:pos x="820" y="461"/>
                </a:cxn>
                <a:cxn ang="0">
                  <a:pos x="923" y="461"/>
                </a:cxn>
                <a:cxn ang="0">
                  <a:pos x="923" y="461"/>
                </a:cxn>
                <a:cxn ang="0">
                  <a:pos x="462" y="0"/>
                </a:cxn>
              </a:cxnLst>
              <a:rect l="0" t="0" r="r" b="b"/>
              <a:pathLst>
                <a:path w="923" h="461">
                  <a:moveTo>
                    <a:pt x="462" y="0"/>
                  </a:moveTo>
                  <a:cubicBezTo>
                    <a:pt x="207" y="0"/>
                    <a:pt x="0" y="207"/>
                    <a:pt x="0" y="461"/>
                  </a:cubicBezTo>
                  <a:cubicBezTo>
                    <a:pt x="0" y="461"/>
                    <a:pt x="0" y="461"/>
                    <a:pt x="0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264"/>
                    <a:pt x="265" y="104"/>
                    <a:pt x="462" y="104"/>
                  </a:cubicBezTo>
                  <a:cubicBezTo>
                    <a:pt x="659" y="104"/>
                    <a:pt x="820" y="264"/>
                    <a:pt x="820" y="461"/>
                  </a:cubicBezTo>
                  <a:cubicBezTo>
                    <a:pt x="820" y="461"/>
                    <a:pt x="820" y="461"/>
                    <a:pt x="820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207"/>
                    <a:pt x="716" y="0"/>
                    <a:pt x="462" y="0"/>
                  </a:cubicBezTo>
                  <a:close/>
                </a:path>
              </a:pathLst>
            </a:custGeom>
            <a:solidFill>
              <a:srgbClr val="F8F8F8"/>
            </a:solidFill>
            <a:ln w="9525">
              <a:solidFill>
                <a:srgbClr val="F7F7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676275" y="2281238"/>
              <a:ext cx="2374900" cy="2381251"/>
              <a:chOff x="676275" y="2281238"/>
              <a:chExt cx="2374900" cy="2381251"/>
            </a:xfrm>
          </p:grpSpPr>
          <p:sp>
            <p:nvSpPr>
              <p:cNvPr id="17" name="Freeform 9"/>
              <p:cNvSpPr>
                <a:spLocks/>
              </p:cNvSpPr>
              <p:nvPr/>
            </p:nvSpPr>
            <p:spPr bwMode="auto">
              <a:xfrm>
                <a:off x="676275" y="3470276"/>
                <a:ext cx="2374900" cy="1192213"/>
              </a:xfrm>
              <a:custGeom>
                <a:avLst/>
                <a:gdLst/>
                <a:ahLst/>
                <a:cxnLst>
                  <a:cxn ang="0">
                    <a:pos x="819" y="1"/>
                  </a:cxn>
                  <a:cxn ang="0">
                    <a:pos x="462" y="359"/>
                  </a:cxn>
                  <a:cxn ang="0">
                    <a:pos x="104" y="1"/>
                  </a:cxn>
                  <a:cxn ang="0">
                    <a:pos x="104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462" y="462"/>
                  </a:cxn>
                  <a:cxn ang="0">
                    <a:pos x="923" y="1"/>
                  </a:cxn>
                  <a:cxn ang="0">
                    <a:pos x="923" y="0"/>
                  </a:cxn>
                  <a:cxn ang="0">
                    <a:pos x="819" y="0"/>
                  </a:cxn>
                  <a:cxn ang="0">
                    <a:pos x="819" y="1"/>
                  </a:cxn>
                </a:cxnLst>
                <a:rect l="0" t="0" r="r" b="b"/>
                <a:pathLst>
                  <a:path w="923" h="462">
                    <a:moveTo>
                      <a:pt x="819" y="1"/>
                    </a:moveTo>
                    <a:cubicBezTo>
                      <a:pt x="819" y="198"/>
                      <a:pt x="659" y="359"/>
                      <a:pt x="462" y="359"/>
                    </a:cubicBezTo>
                    <a:cubicBezTo>
                      <a:pt x="264" y="359"/>
                      <a:pt x="104" y="198"/>
                      <a:pt x="104" y="1"/>
                    </a:cubicBezTo>
                    <a:cubicBezTo>
                      <a:pt x="104" y="1"/>
                      <a:pt x="104" y="1"/>
                      <a:pt x="104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255"/>
                      <a:pt x="207" y="462"/>
                      <a:pt x="462" y="462"/>
                    </a:cubicBezTo>
                    <a:cubicBezTo>
                      <a:pt x="716" y="462"/>
                      <a:pt x="923" y="255"/>
                      <a:pt x="923" y="1"/>
                    </a:cubicBezTo>
                    <a:cubicBezTo>
                      <a:pt x="923" y="1"/>
                      <a:pt x="923" y="1"/>
                      <a:pt x="923" y="0"/>
                    </a:cubicBezTo>
                    <a:cubicBezTo>
                      <a:pt x="819" y="0"/>
                      <a:pt x="819" y="0"/>
                      <a:pt x="819" y="0"/>
                    </a:cubicBezTo>
                    <a:cubicBezTo>
                      <a:pt x="819" y="1"/>
                      <a:pt x="819" y="1"/>
                      <a:pt x="819" y="1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10"/>
              <p:cNvSpPr>
                <a:spLocks/>
              </p:cNvSpPr>
              <p:nvPr/>
            </p:nvSpPr>
            <p:spPr bwMode="auto">
              <a:xfrm>
                <a:off x="676275" y="2281238"/>
                <a:ext cx="2374900" cy="1189038"/>
              </a:xfrm>
              <a:custGeom>
                <a:avLst/>
                <a:gdLst/>
                <a:ahLst/>
                <a:cxnLst>
                  <a:cxn ang="0">
                    <a:pos x="462" y="0"/>
                  </a:cxn>
                  <a:cxn ang="0">
                    <a:pos x="0" y="461"/>
                  </a:cxn>
                  <a:cxn ang="0">
                    <a:pos x="104" y="461"/>
                  </a:cxn>
                  <a:cxn ang="0">
                    <a:pos x="462" y="104"/>
                  </a:cxn>
                  <a:cxn ang="0">
                    <a:pos x="819" y="461"/>
                  </a:cxn>
                  <a:cxn ang="0">
                    <a:pos x="923" y="461"/>
                  </a:cxn>
                  <a:cxn ang="0">
                    <a:pos x="462" y="0"/>
                  </a:cxn>
                </a:cxnLst>
                <a:rect l="0" t="0" r="r" b="b"/>
                <a:pathLst>
                  <a:path w="923" h="461">
                    <a:moveTo>
                      <a:pt x="462" y="0"/>
                    </a:moveTo>
                    <a:cubicBezTo>
                      <a:pt x="207" y="0"/>
                      <a:pt x="0" y="207"/>
                      <a:pt x="0" y="461"/>
                    </a:cubicBezTo>
                    <a:cubicBezTo>
                      <a:pt x="104" y="461"/>
                      <a:pt x="104" y="461"/>
                      <a:pt x="104" y="461"/>
                    </a:cubicBezTo>
                    <a:cubicBezTo>
                      <a:pt x="104" y="264"/>
                      <a:pt x="264" y="104"/>
                      <a:pt x="462" y="104"/>
                    </a:cubicBezTo>
                    <a:cubicBezTo>
                      <a:pt x="659" y="104"/>
                      <a:pt x="819" y="264"/>
                      <a:pt x="819" y="461"/>
                    </a:cubicBezTo>
                    <a:cubicBezTo>
                      <a:pt x="923" y="461"/>
                      <a:pt x="923" y="461"/>
                      <a:pt x="923" y="461"/>
                    </a:cubicBezTo>
                    <a:cubicBezTo>
                      <a:pt x="923" y="207"/>
                      <a:pt x="716" y="0"/>
                      <a:pt x="462" y="0"/>
                    </a:cubicBezTo>
                    <a:close/>
                  </a:path>
                </a:pathLst>
              </a:custGeom>
              <a:solidFill>
                <a:srgbClr val="F8F8F8"/>
              </a:solidFill>
              <a:ln w="9525">
                <a:solidFill>
                  <a:srgbClr val="F7F7F7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9107488" y="2281238"/>
              <a:ext cx="2376488" cy="1189038"/>
            </a:xfrm>
            <a:custGeom>
              <a:avLst/>
              <a:gdLst/>
              <a:ahLst/>
              <a:cxnLst>
                <a:cxn ang="0">
                  <a:pos x="462" y="0"/>
                </a:cxn>
                <a:cxn ang="0">
                  <a:pos x="0" y="461"/>
                </a:cxn>
                <a:cxn ang="0">
                  <a:pos x="104" y="461"/>
                </a:cxn>
                <a:cxn ang="0">
                  <a:pos x="462" y="104"/>
                </a:cxn>
                <a:cxn ang="0">
                  <a:pos x="819" y="461"/>
                </a:cxn>
                <a:cxn ang="0">
                  <a:pos x="923" y="461"/>
                </a:cxn>
                <a:cxn ang="0">
                  <a:pos x="462" y="0"/>
                </a:cxn>
              </a:cxnLst>
              <a:rect l="0" t="0" r="r" b="b"/>
              <a:pathLst>
                <a:path w="923" h="461">
                  <a:moveTo>
                    <a:pt x="462" y="0"/>
                  </a:moveTo>
                  <a:cubicBezTo>
                    <a:pt x="207" y="0"/>
                    <a:pt x="0" y="207"/>
                    <a:pt x="0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264"/>
                    <a:pt x="264" y="104"/>
                    <a:pt x="462" y="104"/>
                  </a:cubicBezTo>
                  <a:cubicBezTo>
                    <a:pt x="659" y="104"/>
                    <a:pt x="819" y="264"/>
                    <a:pt x="819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207"/>
                    <a:pt x="716" y="0"/>
                    <a:pt x="462" y="0"/>
                  </a:cubicBezTo>
                  <a:close/>
                </a:path>
              </a:pathLst>
            </a:custGeom>
            <a:solidFill>
              <a:srgbClr val="192F4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3"/>
            <p:cNvSpPr>
              <a:spLocks/>
            </p:cNvSpPr>
            <p:nvPr/>
          </p:nvSpPr>
          <p:spPr bwMode="auto">
            <a:xfrm>
              <a:off x="4892675" y="2281238"/>
              <a:ext cx="2374900" cy="1189038"/>
            </a:xfrm>
            <a:custGeom>
              <a:avLst/>
              <a:gdLst/>
              <a:ahLst/>
              <a:cxnLst>
                <a:cxn ang="0">
                  <a:pos x="461" y="0"/>
                </a:cxn>
                <a:cxn ang="0">
                  <a:pos x="0" y="461"/>
                </a:cxn>
                <a:cxn ang="0">
                  <a:pos x="103" y="461"/>
                </a:cxn>
                <a:cxn ang="0">
                  <a:pos x="461" y="104"/>
                </a:cxn>
                <a:cxn ang="0">
                  <a:pos x="819" y="461"/>
                </a:cxn>
                <a:cxn ang="0">
                  <a:pos x="923" y="461"/>
                </a:cxn>
                <a:cxn ang="0">
                  <a:pos x="461" y="0"/>
                </a:cxn>
              </a:cxnLst>
              <a:rect l="0" t="0" r="r" b="b"/>
              <a:pathLst>
                <a:path w="923" h="461">
                  <a:moveTo>
                    <a:pt x="461" y="0"/>
                  </a:moveTo>
                  <a:cubicBezTo>
                    <a:pt x="207" y="0"/>
                    <a:pt x="0" y="207"/>
                    <a:pt x="0" y="461"/>
                  </a:cubicBezTo>
                  <a:cubicBezTo>
                    <a:pt x="103" y="461"/>
                    <a:pt x="103" y="461"/>
                    <a:pt x="103" y="461"/>
                  </a:cubicBezTo>
                  <a:cubicBezTo>
                    <a:pt x="104" y="264"/>
                    <a:pt x="264" y="104"/>
                    <a:pt x="461" y="104"/>
                  </a:cubicBezTo>
                  <a:cubicBezTo>
                    <a:pt x="658" y="104"/>
                    <a:pt x="819" y="264"/>
                    <a:pt x="819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2" y="207"/>
                    <a:pt x="715" y="0"/>
                    <a:pt x="461" y="0"/>
                  </a:cubicBezTo>
                  <a:close/>
                </a:path>
              </a:pathLst>
            </a:custGeom>
            <a:solidFill>
              <a:srgbClr val="F8F8F8"/>
            </a:solidFill>
            <a:ln w="9525">
              <a:solidFill>
                <a:srgbClr val="F7F7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/>
            </p:cNvSpPr>
            <p:nvPr/>
          </p:nvSpPr>
          <p:spPr bwMode="auto">
            <a:xfrm>
              <a:off x="2782888" y="3470276"/>
              <a:ext cx="2374900" cy="1192213"/>
            </a:xfrm>
            <a:custGeom>
              <a:avLst/>
              <a:gdLst/>
              <a:ahLst/>
              <a:cxnLst>
                <a:cxn ang="0">
                  <a:pos x="462" y="358"/>
                </a:cxn>
                <a:cxn ang="0">
                  <a:pos x="104" y="0"/>
                </a:cxn>
                <a:cxn ang="0">
                  <a:pos x="0" y="0"/>
                </a:cxn>
                <a:cxn ang="0">
                  <a:pos x="462" y="462"/>
                </a:cxn>
                <a:cxn ang="0">
                  <a:pos x="923" y="0"/>
                </a:cxn>
                <a:cxn ang="0">
                  <a:pos x="820" y="0"/>
                </a:cxn>
                <a:cxn ang="0">
                  <a:pos x="462" y="358"/>
                </a:cxn>
              </a:cxnLst>
              <a:rect l="0" t="0" r="r" b="b"/>
              <a:pathLst>
                <a:path w="923" h="462">
                  <a:moveTo>
                    <a:pt x="462" y="358"/>
                  </a:moveTo>
                  <a:cubicBezTo>
                    <a:pt x="265" y="358"/>
                    <a:pt x="104" y="198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55"/>
                    <a:pt x="207" y="462"/>
                    <a:pt x="462" y="462"/>
                  </a:cubicBezTo>
                  <a:cubicBezTo>
                    <a:pt x="716" y="462"/>
                    <a:pt x="923" y="255"/>
                    <a:pt x="923" y="0"/>
                  </a:cubicBezTo>
                  <a:cubicBezTo>
                    <a:pt x="820" y="0"/>
                    <a:pt x="820" y="0"/>
                    <a:pt x="820" y="0"/>
                  </a:cubicBezTo>
                  <a:cubicBezTo>
                    <a:pt x="819" y="198"/>
                    <a:pt x="659" y="358"/>
                    <a:pt x="462" y="358"/>
                  </a:cubicBezTo>
                  <a:close/>
                </a:path>
              </a:pathLst>
            </a:custGeom>
            <a:solidFill>
              <a:srgbClr val="F8F8F8"/>
            </a:solidFill>
            <a:ln w="9525">
              <a:solidFill>
                <a:srgbClr val="F7F7F7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0" name="Freeform 9"/>
          <p:cNvSpPr>
            <a:spLocks/>
          </p:cNvSpPr>
          <p:nvPr/>
        </p:nvSpPr>
        <p:spPr bwMode="auto">
          <a:xfrm>
            <a:off x="6988175" y="3429000"/>
            <a:ext cx="2374900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2" y="359"/>
              </a:cxn>
              <a:cxn ang="0">
                <a:pos x="104" y="1"/>
              </a:cxn>
              <a:cxn ang="0">
                <a:pos x="104" y="0"/>
              </a:cxn>
              <a:cxn ang="0">
                <a:pos x="0" y="0"/>
              </a:cxn>
              <a:cxn ang="0">
                <a:pos x="0" y="1"/>
              </a:cxn>
              <a:cxn ang="0">
                <a:pos x="462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9" y="359"/>
                  <a:pt x="462" y="359"/>
                </a:cubicBezTo>
                <a:cubicBezTo>
                  <a:pt x="264" y="359"/>
                  <a:pt x="104" y="198"/>
                  <a:pt x="104" y="1"/>
                </a:cubicBezTo>
                <a:cubicBezTo>
                  <a:pt x="104" y="1"/>
                  <a:pt x="104" y="1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F8F8F8"/>
          </a:solidFill>
          <a:ln w="9525">
            <a:solidFill>
              <a:srgbClr val="F7F7F7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990833" y="3096481"/>
            <a:ext cx="801494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fill out the Chapter 6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olunteer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ining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ation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give to the facilitator.</a:t>
            </a:r>
          </a:p>
          <a:p>
            <a:pPr lvl="1" indent="0">
              <a:buNone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6479864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7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Pre-Work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928198" y="2992376"/>
            <a:ext cx="733480" cy="924273"/>
          </a:xfrm>
          <a:prstGeom prst="rect">
            <a:avLst/>
          </a:prstGeom>
        </p:spPr>
      </p:pic>
      <p:sp>
        <p:nvSpPr>
          <p:cNvPr id="8" name="Freeform 9"/>
          <p:cNvSpPr>
            <a:spLocks/>
          </p:cNvSpPr>
          <p:nvPr/>
        </p:nvSpPr>
        <p:spPr bwMode="auto">
          <a:xfrm>
            <a:off x="9107488" y="3454513"/>
            <a:ext cx="2374900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2" y="359"/>
              </a:cxn>
              <a:cxn ang="0">
                <a:pos x="104" y="1"/>
              </a:cxn>
              <a:cxn ang="0">
                <a:pos x="104" y="0"/>
              </a:cxn>
              <a:cxn ang="0">
                <a:pos x="0" y="0"/>
              </a:cxn>
              <a:cxn ang="0">
                <a:pos x="0" y="1"/>
              </a:cxn>
              <a:cxn ang="0">
                <a:pos x="462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9" y="359"/>
                  <a:pt x="462" y="359"/>
                </a:cubicBezTo>
                <a:cubicBezTo>
                  <a:pt x="264" y="359"/>
                  <a:pt x="104" y="198"/>
                  <a:pt x="104" y="1"/>
                </a:cubicBezTo>
                <a:cubicBezTo>
                  <a:pt x="104" y="1"/>
                  <a:pt x="104" y="1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10"/>
          <p:cNvSpPr>
            <a:spLocks/>
          </p:cNvSpPr>
          <p:nvPr/>
        </p:nvSpPr>
        <p:spPr bwMode="auto">
          <a:xfrm>
            <a:off x="9107488" y="2265475"/>
            <a:ext cx="2374900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2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rgbClr val="192F4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952446" y="1904462"/>
            <a:ext cx="815504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buClr>
                <a:srgbClr val="ED1B2E"/>
              </a:buClr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ead pages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226-260,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Statistics on Youth Aging Out of Foster Care through Initial Case Notes for the Brown Case, and complete the following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lvl="0">
              <a:buClr>
                <a:srgbClr val="ED1B2E"/>
              </a:buClr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>
              <a:buClr>
                <a:srgbClr val="ED1B2E"/>
              </a:buClr>
              <a:buFont typeface="Wingdings" panose="05000000000000000000" pitchFamily="2" charset="2"/>
              <a:buChar char="q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atch the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“In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Brief: How Resilience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Is Built”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video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ink about relationships you had as a youth that helped you build resilience.</a:t>
            </a:r>
          </a:p>
          <a:p>
            <a:pPr marL="342900" lvl="0" indent="-342900">
              <a:buClr>
                <a:srgbClr val="ED1B2E"/>
              </a:buClr>
              <a:buFont typeface="Wingdings" panose="05000000000000000000" pitchFamily="2" charset="2"/>
              <a:buChar char="q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Listen to the “Childhood Reflections”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audio clip. </a:t>
            </a:r>
          </a:p>
          <a:p>
            <a:pPr marL="342900" lvl="0" indent="-342900">
              <a:buClr>
                <a:srgbClr val="ED1B2E"/>
              </a:buClr>
              <a:buFont typeface="Wingdings" panose="05000000000000000000" pitchFamily="2" charset="2"/>
              <a:buChar char="q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omplete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he Questions Based on K–12 Experiences activity.</a:t>
            </a:r>
          </a:p>
        </p:txBody>
      </p:sp>
    </p:spTree>
    <p:extLst>
      <p:ext uri="{BB962C8B-B14F-4D97-AF65-F5344CB8AC3E}">
        <p14:creationId xmlns:p14="http://schemas.microsoft.com/office/powerpoint/2010/main" val="12406923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2829179"/>
              </p:ext>
            </p:extLst>
          </p:nvPr>
        </p:nvGraphicFramePr>
        <p:xfrm>
          <a:off x="169742" y="1422808"/>
          <a:ext cx="11761076" cy="519870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329619">
                  <a:extLst>
                    <a:ext uri="{9D8B030D-6E8A-4147-A177-3AD203B41FA5}">
                      <a16:colId xmlns:a16="http://schemas.microsoft.com/office/drawing/2014/main" xmlns="" xmlns:mv="urn:schemas-microsoft-com:mac:vml" xmlns:mc="http://schemas.openxmlformats.org/markup-compatibility/2006" val="20000"/>
                    </a:ext>
                  </a:extLst>
                </a:gridCol>
                <a:gridCol w="9431457">
                  <a:extLst>
                    <a:ext uri="{9D8B030D-6E8A-4147-A177-3AD203B41FA5}">
                      <a16:colId xmlns:a16="http://schemas.microsoft.com/office/drawing/2014/main" xmlns="" xmlns:mv="urn:schemas-microsoft-com:mac:vml" xmlns:mc="http://schemas.openxmlformats.org/markup-compatibility/2006" val="20001"/>
                    </a:ext>
                  </a:extLst>
                </a:gridCol>
              </a:tblGrid>
              <a:tr h="66964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petency Category</a:t>
                      </a:r>
                      <a:endParaRPr lang="en-US" sz="2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rgbClr val="222A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nowledge, </a:t>
                      </a: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kills and Attributes</a:t>
                      </a:r>
                      <a:r>
                        <a:rPr lang="en-US" sz="24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24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ment </a:t>
                      </a:r>
                      <a:r>
                        <a:rPr lang="en-US" sz="2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 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apter 6</a:t>
                      </a:r>
                      <a:endParaRPr lang="en-US" sz="2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rgbClr val="ED1B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mv="urn:schemas-microsoft-com:mac:vml" xmlns:mc="http://schemas.openxmlformats.org/markup-compatibility/2006" val="10000"/>
                  </a:ext>
                </a:extLst>
              </a:tr>
              <a:tr h="365760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ultural Competency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derstands and demonstrates self-awareness to eliminate the influence of personal biases and values when working with diverse groups</a:t>
                      </a:r>
                    </a:p>
                  </a:txBody>
                  <a:tcPr marL="68580" marR="68580" marT="0" marB="0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mv="urn:schemas-microsoft-com:mac:vml" xmlns:mc="http://schemas.openxmlformats.org/markup-compatibility/2006" val="10001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nows strategies and steps to take to increase cultural competency skills and demonstrate culturally competent child advocacy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B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mv="urn:schemas-microsoft-com:mac:vml" xmlns:mc="http://schemas.openxmlformats.org/markup-compatibility/2006" val="4094383976"/>
                  </a:ext>
                </a:extLst>
              </a:tr>
              <a:tr h="35708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derstands how to recognize and challenge own biases</a:t>
                      </a:r>
                    </a:p>
                  </a:txBody>
                  <a:tcPr marL="68580" marR="68580" marT="0" marB="0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mv="urn:schemas-microsoft-com:mac:vml" xmlns:mc="http://schemas.openxmlformats.org/markup-compatibility/2006" val="3443583374"/>
                  </a:ext>
                </a:extLst>
              </a:tr>
              <a:tr h="443829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oundation of Knowledge</a:t>
                      </a: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2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derstands how domestic violence affects children and families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mv="urn:schemas-microsoft-com:mac:vml" xmlns:mc="http://schemas.openxmlformats.org/markup-compatibility/2006" val="100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nows the importance of being aware of resources in the community that assist with substance abuse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mv="urn:schemas-microsoft-com:mac:vml" xmlns:mc="http://schemas.openxmlformats.org/markup-compatibility/2006" val="3737461757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0" kern="12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mmunication</a:t>
                      </a:r>
                    </a:p>
                  </a:txBody>
                  <a:tcPr marL="68580" marR="68580" marT="0" marB="0">
                    <a:solidFill>
                      <a:srgbClr val="CBCBCB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defTabSz="914400" rtl="0" eaLnBrk="1" latinLnBrk="0" hangingPunct="1">
                        <a:buFont typeface="Arial" panose="020B0604020202020204" pitchFamily="34" charset="0"/>
                        <a:buNone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derstands the importance of speaking and writing clearly and concisely</a:t>
                      </a: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xmlns:mv="urn:schemas-microsoft-com:mac:vml" xmlns:mc="http://schemas.openxmlformats.org/markup-compatibility/2006" val="10003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2400" kern="1200" dirty="0">
                          <a:solidFill>
                            <a:schemeClr val="dk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nows how to utilize basic communication and interviewing skills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CBCB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xmlns:mv="urn:schemas-microsoft-com:mac:vml" xmlns:mc="http://schemas.openxmlformats.org/markup-compatibility/2006" val="1148662412"/>
                  </a:ext>
                </a:extLst>
              </a:tr>
            </a:tbl>
          </a:graphicData>
        </a:graphic>
      </p:graphicFrame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Competencies</a:t>
            </a:r>
          </a:p>
        </p:txBody>
      </p:sp>
    </p:spTree>
    <p:extLst>
      <p:ext uri="{BB962C8B-B14F-4D97-AF65-F5344CB8AC3E}">
        <p14:creationId xmlns:p14="http://schemas.microsoft.com/office/powerpoint/2010/main" val="21899832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20474" y="4136252"/>
            <a:ext cx="285293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-Work Recap, Chapter Overview</a:t>
            </a:r>
            <a:r>
              <a:rPr lang="en-US" sz="2400" dirty="0" smtClean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chemeClr val="bg1">
                    <a:lumMod val="8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encies</a:t>
            </a:r>
          </a:p>
        </p:txBody>
      </p:sp>
      <p:sp>
        <p:nvSpPr>
          <p:cNvPr id="7" name="Rectangle 6"/>
          <p:cNvSpPr/>
          <p:nvPr/>
        </p:nvSpPr>
        <p:spPr>
          <a:xfrm>
            <a:off x="3137227" y="4116879"/>
            <a:ext cx="167222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 Violence</a:t>
            </a:r>
          </a:p>
        </p:txBody>
      </p:sp>
      <p:sp>
        <p:nvSpPr>
          <p:cNvPr id="8" name="Rectangle 7"/>
          <p:cNvSpPr/>
          <p:nvPr/>
        </p:nvSpPr>
        <p:spPr>
          <a:xfrm>
            <a:off x="4919818" y="4116879"/>
            <a:ext cx="24581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kill Building: Cultural Competence</a:t>
            </a:r>
          </a:p>
        </p:txBody>
      </p:sp>
      <p:sp>
        <p:nvSpPr>
          <p:cNvPr id="9" name="Rectangle 8"/>
          <p:cNvSpPr/>
          <p:nvPr/>
        </p:nvSpPr>
        <p:spPr>
          <a:xfrm>
            <a:off x="7544156" y="4116879"/>
            <a:ext cx="14594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a Case</a:t>
            </a:r>
          </a:p>
        </p:txBody>
      </p:sp>
      <p:sp>
        <p:nvSpPr>
          <p:cNvPr id="10" name="Rectangle 9"/>
          <p:cNvSpPr/>
          <p:nvPr/>
        </p:nvSpPr>
        <p:spPr>
          <a:xfrm>
            <a:off x="9011149" y="4078779"/>
            <a:ext cx="2999876" cy="17235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Wrap-Up: Review</a:t>
            </a:r>
            <a:r>
              <a:rPr lang="en-US" sz="2400" dirty="0" smtClean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valuation  </a:t>
            </a:r>
          </a:p>
          <a:p>
            <a:pPr algn="ctr">
              <a:spcAft>
                <a:spcPts val="1200"/>
              </a:spcAft>
            </a:pPr>
            <a:r>
              <a:rPr lang="en-US" sz="2400" dirty="0">
                <a:solidFill>
                  <a:srgbClr val="1130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pter 7: Pre-Work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939431" y="2514061"/>
            <a:ext cx="809435" cy="812462"/>
          </a:xfrm>
          <a:prstGeom prst="rect">
            <a:avLst/>
          </a:prstGeom>
        </p:spPr>
      </p:pic>
      <p:sp>
        <p:nvSpPr>
          <p:cNvPr id="12" name="Freeform 5"/>
          <p:cNvSpPr>
            <a:spLocks/>
          </p:cNvSpPr>
          <p:nvPr/>
        </p:nvSpPr>
        <p:spPr bwMode="auto">
          <a:xfrm>
            <a:off x="9107488" y="2918466"/>
            <a:ext cx="2376488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2" y="358"/>
              </a:cxn>
              <a:cxn ang="0">
                <a:pos x="104" y="1"/>
              </a:cxn>
              <a:cxn ang="0">
                <a:pos x="104" y="0"/>
              </a:cxn>
              <a:cxn ang="0">
                <a:pos x="0" y="0"/>
              </a:cxn>
              <a:cxn ang="0">
                <a:pos x="0" y="1"/>
              </a:cxn>
              <a:cxn ang="0">
                <a:pos x="462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9" y="358"/>
                  <a:pt x="462" y="358"/>
                </a:cubicBezTo>
                <a:cubicBezTo>
                  <a:pt x="264" y="358"/>
                  <a:pt x="104" y="198"/>
                  <a:pt x="104" y="1"/>
                </a:cubicBezTo>
                <a:cubicBezTo>
                  <a:pt x="104" y="1"/>
                  <a:pt x="104" y="1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6"/>
          <p:cNvSpPr>
            <a:spLocks/>
          </p:cNvSpPr>
          <p:nvPr/>
        </p:nvSpPr>
        <p:spPr bwMode="auto">
          <a:xfrm>
            <a:off x="70008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1" y="104"/>
              </a:cxn>
              <a:cxn ang="0">
                <a:pos x="819" y="461"/>
              </a:cxn>
              <a:cxn ang="0">
                <a:pos x="819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819" y="461"/>
                  <a:pt x="819" y="461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1" y="0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Freeform 7"/>
          <p:cNvSpPr>
            <a:spLocks/>
          </p:cNvSpPr>
          <p:nvPr/>
        </p:nvSpPr>
        <p:spPr bwMode="auto">
          <a:xfrm>
            <a:off x="4892675" y="2918466"/>
            <a:ext cx="2374900" cy="1192213"/>
          </a:xfrm>
          <a:custGeom>
            <a:avLst/>
            <a:gdLst/>
            <a:ahLst/>
            <a:cxnLst>
              <a:cxn ang="0">
                <a:pos x="819" y="1"/>
              </a:cxn>
              <a:cxn ang="0">
                <a:pos x="461" y="359"/>
              </a:cxn>
              <a:cxn ang="0">
                <a:pos x="103" y="1"/>
              </a:cxn>
              <a:cxn ang="0">
                <a:pos x="103" y="0"/>
              </a:cxn>
              <a:cxn ang="0">
                <a:pos x="0" y="0"/>
              </a:cxn>
              <a:cxn ang="0">
                <a:pos x="0" y="1"/>
              </a:cxn>
              <a:cxn ang="0">
                <a:pos x="461" y="462"/>
              </a:cxn>
              <a:cxn ang="0">
                <a:pos x="923" y="1"/>
              </a:cxn>
              <a:cxn ang="0">
                <a:pos x="923" y="0"/>
              </a:cxn>
              <a:cxn ang="0">
                <a:pos x="819" y="0"/>
              </a:cxn>
              <a:cxn ang="0">
                <a:pos x="819" y="1"/>
              </a:cxn>
            </a:cxnLst>
            <a:rect l="0" t="0" r="r" b="b"/>
            <a:pathLst>
              <a:path w="923" h="462">
                <a:moveTo>
                  <a:pt x="819" y="1"/>
                </a:moveTo>
                <a:cubicBezTo>
                  <a:pt x="819" y="198"/>
                  <a:pt x="658" y="359"/>
                  <a:pt x="461" y="359"/>
                </a:cubicBezTo>
                <a:cubicBezTo>
                  <a:pt x="264" y="359"/>
                  <a:pt x="103" y="198"/>
                  <a:pt x="103" y="1"/>
                </a:cubicBezTo>
                <a:cubicBezTo>
                  <a:pt x="103" y="1"/>
                  <a:pt x="103" y="1"/>
                  <a:pt x="103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"/>
                  <a:pt x="0" y="1"/>
                  <a:pt x="0" y="1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1"/>
                </a:cubicBezTo>
                <a:cubicBezTo>
                  <a:pt x="923" y="1"/>
                  <a:pt x="923" y="1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"/>
                  <a:pt x="819" y="1"/>
                  <a:pt x="819" y="1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8"/>
          <p:cNvSpPr>
            <a:spLocks/>
          </p:cNvSpPr>
          <p:nvPr/>
        </p:nvSpPr>
        <p:spPr bwMode="auto">
          <a:xfrm>
            <a:off x="2782888" y="1729428"/>
            <a:ext cx="2374900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0" y="461"/>
              </a:cxn>
              <a:cxn ang="0">
                <a:pos x="104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20" y="461"/>
              </a:cxn>
              <a:cxn ang="0">
                <a:pos x="820" y="461"/>
              </a:cxn>
              <a:cxn ang="0">
                <a:pos x="923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0" y="461"/>
                  <a:pt x="0" y="461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5" y="104"/>
                  <a:pt x="462" y="104"/>
                </a:cubicBezTo>
                <a:cubicBezTo>
                  <a:pt x="659" y="104"/>
                  <a:pt x="820" y="264"/>
                  <a:pt x="820" y="461"/>
                </a:cubicBezTo>
                <a:cubicBezTo>
                  <a:pt x="820" y="461"/>
                  <a:pt x="820" y="461"/>
                  <a:pt x="820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rgbClr val="BBCFE1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oup 15"/>
          <p:cNvGrpSpPr/>
          <p:nvPr/>
        </p:nvGrpSpPr>
        <p:grpSpPr>
          <a:xfrm>
            <a:off x="676275" y="1729428"/>
            <a:ext cx="2374900" cy="2381251"/>
            <a:chOff x="676275" y="2281238"/>
            <a:chExt cx="2374900" cy="2381251"/>
          </a:xfrm>
        </p:grpSpPr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676275" y="3470276"/>
              <a:ext cx="2374900" cy="1192213"/>
            </a:xfrm>
            <a:custGeom>
              <a:avLst/>
              <a:gdLst/>
              <a:ahLst/>
              <a:cxnLst>
                <a:cxn ang="0">
                  <a:pos x="819" y="1"/>
                </a:cxn>
                <a:cxn ang="0">
                  <a:pos x="462" y="359"/>
                </a:cxn>
                <a:cxn ang="0">
                  <a:pos x="104" y="1"/>
                </a:cxn>
                <a:cxn ang="0">
                  <a:pos x="104" y="0"/>
                </a:cxn>
                <a:cxn ang="0">
                  <a:pos x="0" y="0"/>
                </a:cxn>
                <a:cxn ang="0">
                  <a:pos x="0" y="1"/>
                </a:cxn>
                <a:cxn ang="0">
                  <a:pos x="462" y="462"/>
                </a:cxn>
                <a:cxn ang="0">
                  <a:pos x="923" y="1"/>
                </a:cxn>
                <a:cxn ang="0">
                  <a:pos x="923" y="0"/>
                </a:cxn>
                <a:cxn ang="0">
                  <a:pos x="819" y="0"/>
                </a:cxn>
                <a:cxn ang="0">
                  <a:pos x="819" y="1"/>
                </a:cxn>
              </a:cxnLst>
              <a:rect l="0" t="0" r="r" b="b"/>
              <a:pathLst>
                <a:path w="923" h="462">
                  <a:moveTo>
                    <a:pt x="819" y="1"/>
                  </a:moveTo>
                  <a:cubicBezTo>
                    <a:pt x="819" y="198"/>
                    <a:pt x="659" y="359"/>
                    <a:pt x="462" y="359"/>
                  </a:cubicBezTo>
                  <a:cubicBezTo>
                    <a:pt x="264" y="359"/>
                    <a:pt x="104" y="198"/>
                    <a:pt x="104" y="1"/>
                  </a:cubicBezTo>
                  <a:cubicBezTo>
                    <a:pt x="104" y="1"/>
                    <a:pt x="104" y="1"/>
                    <a:pt x="10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55"/>
                    <a:pt x="207" y="462"/>
                    <a:pt x="462" y="462"/>
                  </a:cubicBezTo>
                  <a:cubicBezTo>
                    <a:pt x="716" y="462"/>
                    <a:pt x="923" y="255"/>
                    <a:pt x="923" y="1"/>
                  </a:cubicBezTo>
                  <a:cubicBezTo>
                    <a:pt x="923" y="1"/>
                    <a:pt x="923" y="1"/>
                    <a:pt x="923" y="0"/>
                  </a:cubicBezTo>
                  <a:cubicBezTo>
                    <a:pt x="819" y="0"/>
                    <a:pt x="819" y="0"/>
                    <a:pt x="819" y="0"/>
                  </a:cubicBezTo>
                  <a:cubicBezTo>
                    <a:pt x="819" y="1"/>
                    <a:pt x="819" y="1"/>
                    <a:pt x="819" y="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676275" y="2281238"/>
              <a:ext cx="2374900" cy="1189038"/>
            </a:xfrm>
            <a:custGeom>
              <a:avLst/>
              <a:gdLst/>
              <a:ahLst/>
              <a:cxnLst>
                <a:cxn ang="0">
                  <a:pos x="462" y="0"/>
                </a:cxn>
                <a:cxn ang="0">
                  <a:pos x="0" y="461"/>
                </a:cxn>
                <a:cxn ang="0">
                  <a:pos x="104" y="461"/>
                </a:cxn>
                <a:cxn ang="0">
                  <a:pos x="462" y="104"/>
                </a:cxn>
                <a:cxn ang="0">
                  <a:pos x="819" y="461"/>
                </a:cxn>
                <a:cxn ang="0">
                  <a:pos x="923" y="461"/>
                </a:cxn>
                <a:cxn ang="0">
                  <a:pos x="462" y="0"/>
                </a:cxn>
              </a:cxnLst>
              <a:rect l="0" t="0" r="r" b="b"/>
              <a:pathLst>
                <a:path w="923" h="461">
                  <a:moveTo>
                    <a:pt x="462" y="0"/>
                  </a:moveTo>
                  <a:cubicBezTo>
                    <a:pt x="207" y="0"/>
                    <a:pt x="0" y="207"/>
                    <a:pt x="0" y="461"/>
                  </a:cubicBezTo>
                  <a:cubicBezTo>
                    <a:pt x="104" y="461"/>
                    <a:pt x="104" y="461"/>
                    <a:pt x="104" y="461"/>
                  </a:cubicBezTo>
                  <a:cubicBezTo>
                    <a:pt x="104" y="264"/>
                    <a:pt x="264" y="104"/>
                    <a:pt x="462" y="104"/>
                  </a:cubicBezTo>
                  <a:cubicBezTo>
                    <a:pt x="659" y="104"/>
                    <a:pt x="819" y="264"/>
                    <a:pt x="819" y="461"/>
                  </a:cubicBezTo>
                  <a:cubicBezTo>
                    <a:pt x="923" y="461"/>
                    <a:pt x="923" y="461"/>
                    <a:pt x="923" y="461"/>
                  </a:cubicBezTo>
                  <a:cubicBezTo>
                    <a:pt x="923" y="207"/>
                    <a:pt x="716" y="0"/>
                    <a:pt x="46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Freeform 11"/>
          <p:cNvSpPr>
            <a:spLocks/>
          </p:cNvSpPr>
          <p:nvPr/>
        </p:nvSpPr>
        <p:spPr bwMode="auto">
          <a:xfrm>
            <a:off x="9107488" y="1729428"/>
            <a:ext cx="2376488" cy="1189038"/>
          </a:xfrm>
          <a:custGeom>
            <a:avLst/>
            <a:gdLst/>
            <a:ahLst/>
            <a:cxnLst>
              <a:cxn ang="0">
                <a:pos x="462" y="0"/>
              </a:cxn>
              <a:cxn ang="0">
                <a:pos x="0" y="461"/>
              </a:cxn>
              <a:cxn ang="0">
                <a:pos x="104" y="461"/>
              </a:cxn>
              <a:cxn ang="0">
                <a:pos x="462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2" y="0"/>
              </a:cxn>
            </a:cxnLst>
            <a:rect l="0" t="0" r="r" b="b"/>
            <a:pathLst>
              <a:path w="923" h="461">
                <a:moveTo>
                  <a:pt x="462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4" y="461"/>
                  <a:pt x="104" y="461"/>
                  <a:pt x="104" y="461"/>
                </a:cubicBezTo>
                <a:cubicBezTo>
                  <a:pt x="104" y="264"/>
                  <a:pt x="264" y="104"/>
                  <a:pt x="462" y="104"/>
                </a:cubicBezTo>
                <a:cubicBezTo>
                  <a:pt x="659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3" y="207"/>
                  <a:pt x="716" y="0"/>
                  <a:pt x="462" y="0"/>
                </a:cubicBezTo>
                <a:close/>
              </a:path>
            </a:pathLst>
          </a:custGeom>
          <a:solidFill>
            <a:srgbClr val="192F4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" name="Freeform 12"/>
          <p:cNvSpPr>
            <a:spLocks/>
          </p:cNvSpPr>
          <p:nvPr/>
        </p:nvSpPr>
        <p:spPr bwMode="auto">
          <a:xfrm>
            <a:off x="7000875" y="2918466"/>
            <a:ext cx="2374900" cy="1192213"/>
          </a:xfrm>
          <a:custGeom>
            <a:avLst/>
            <a:gdLst/>
            <a:ahLst/>
            <a:cxnLst>
              <a:cxn ang="0">
                <a:pos x="461" y="358"/>
              </a:cxn>
              <a:cxn ang="0">
                <a:pos x="104" y="0"/>
              </a:cxn>
              <a:cxn ang="0">
                <a:pos x="0" y="0"/>
              </a:cxn>
              <a:cxn ang="0">
                <a:pos x="461" y="462"/>
              </a:cxn>
              <a:cxn ang="0">
                <a:pos x="923" y="0"/>
              </a:cxn>
              <a:cxn ang="0">
                <a:pos x="819" y="0"/>
              </a:cxn>
              <a:cxn ang="0">
                <a:pos x="461" y="358"/>
              </a:cxn>
            </a:cxnLst>
            <a:rect l="0" t="0" r="r" b="b"/>
            <a:pathLst>
              <a:path w="923" h="462">
                <a:moveTo>
                  <a:pt x="461" y="358"/>
                </a:moveTo>
                <a:cubicBezTo>
                  <a:pt x="264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1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19" y="0"/>
                  <a:pt x="819" y="0"/>
                  <a:pt x="819" y="0"/>
                </a:cubicBezTo>
                <a:cubicBezTo>
                  <a:pt x="819" y="198"/>
                  <a:pt x="658" y="358"/>
                  <a:pt x="461" y="358"/>
                </a:cubicBezTo>
                <a:close/>
              </a:path>
            </a:pathLst>
          </a:custGeom>
          <a:solidFill>
            <a:srgbClr val="F5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13"/>
          <p:cNvSpPr>
            <a:spLocks/>
          </p:cNvSpPr>
          <p:nvPr/>
        </p:nvSpPr>
        <p:spPr bwMode="auto">
          <a:xfrm>
            <a:off x="4892675" y="1729428"/>
            <a:ext cx="2374900" cy="1189038"/>
          </a:xfrm>
          <a:custGeom>
            <a:avLst/>
            <a:gdLst/>
            <a:ahLst/>
            <a:cxnLst>
              <a:cxn ang="0">
                <a:pos x="461" y="0"/>
              </a:cxn>
              <a:cxn ang="0">
                <a:pos x="0" y="461"/>
              </a:cxn>
              <a:cxn ang="0">
                <a:pos x="103" y="461"/>
              </a:cxn>
              <a:cxn ang="0">
                <a:pos x="461" y="104"/>
              </a:cxn>
              <a:cxn ang="0">
                <a:pos x="819" y="461"/>
              </a:cxn>
              <a:cxn ang="0">
                <a:pos x="923" y="461"/>
              </a:cxn>
              <a:cxn ang="0">
                <a:pos x="461" y="0"/>
              </a:cxn>
            </a:cxnLst>
            <a:rect l="0" t="0" r="r" b="b"/>
            <a:pathLst>
              <a:path w="923" h="461">
                <a:moveTo>
                  <a:pt x="461" y="0"/>
                </a:moveTo>
                <a:cubicBezTo>
                  <a:pt x="207" y="0"/>
                  <a:pt x="0" y="207"/>
                  <a:pt x="0" y="461"/>
                </a:cubicBezTo>
                <a:cubicBezTo>
                  <a:pt x="103" y="461"/>
                  <a:pt x="103" y="461"/>
                  <a:pt x="103" y="461"/>
                </a:cubicBezTo>
                <a:cubicBezTo>
                  <a:pt x="104" y="264"/>
                  <a:pt x="264" y="104"/>
                  <a:pt x="461" y="104"/>
                </a:cubicBezTo>
                <a:cubicBezTo>
                  <a:pt x="658" y="104"/>
                  <a:pt x="819" y="264"/>
                  <a:pt x="819" y="461"/>
                </a:cubicBezTo>
                <a:cubicBezTo>
                  <a:pt x="923" y="461"/>
                  <a:pt x="923" y="461"/>
                  <a:pt x="923" y="461"/>
                </a:cubicBezTo>
                <a:cubicBezTo>
                  <a:pt x="922" y="207"/>
                  <a:pt x="715" y="0"/>
                  <a:pt x="461" y="0"/>
                </a:cubicBezTo>
                <a:close/>
              </a:path>
            </a:pathLst>
          </a:custGeom>
          <a:solidFill>
            <a:srgbClr val="192F44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2" name="Freeform 14"/>
          <p:cNvSpPr>
            <a:spLocks/>
          </p:cNvSpPr>
          <p:nvPr/>
        </p:nvSpPr>
        <p:spPr bwMode="auto">
          <a:xfrm>
            <a:off x="2782888" y="2918466"/>
            <a:ext cx="2374900" cy="1192213"/>
          </a:xfrm>
          <a:custGeom>
            <a:avLst/>
            <a:gdLst/>
            <a:ahLst/>
            <a:cxnLst>
              <a:cxn ang="0">
                <a:pos x="462" y="358"/>
              </a:cxn>
              <a:cxn ang="0">
                <a:pos x="104" y="0"/>
              </a:cxn>
              <a:cxn ang="0">
                <a:pos x="0" y="0"/>
              </a:cxn>
              <a:cxn ang="0">
                <a:pos x="462" y="462"/>
              </a:cxn>
              <a:cxn ang="0">
                <a:pos x="923" y="0"/>
              </a:cxn>
              <a:cxn ang="0">
                <a:pos x="820" y="0"/>
              </a:cxn>
              <a:cxn ang="0">
                <a:pos x="462" y="358"/>
              </a:cxn>
            </a:cxnLst>
            <a:rect l="0" t="0" r="r" b="b"/>
            <a:pathLst>
              <a:path w="923" h="462">
                <a:moveTo>
                  <a:pt x="462" y="358"/>
                </a:moveTo>
                <a:cubicBezTo>
                  <a:pt x="265" y="358"/>
                  <a:pt x="104" y="198"/>
                  <a:pt x="10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255"/>
                  <a:pt x="207" y="462"/>
                  <a:pt x="462" y="462"/>
                </a:cubicBezTo>
                <a:cubicBezTo>
                  <a:pt x="716" y="462"/>
                  <a:pt x="923" y="255"/>
                  <a:pt x="923" y="0"/>
                </a:cubicBezTo>
                <a:cubicBezTo>
                  <a:pt x="820" y="0"/>
                  <a:pt x="820" y="0"/>
                  <a:pt x="820" y="0"/>
                </a:cubicBezTo>
                <a:cubicBezTo>
                  <a:pt x="819" y="198"/>
                  <a:pt x="659" y="358"/>
                  <a:pt x="462" y="358"/>
                </a:cubicBezTo>
                <a:close/>
              </a:path>
            </a:pathLst>
          </a:custGeom>
          <a:solidFill>
            <a:srgbClr val="F500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05730" y="2442118"/>
            <a:ext cx="715541" cy="987723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lum bright="21000"/>
          </a:blip>
          <a:stretch>
            <a:fillRect/>
          </a:stretch>
        </p:blipFill>
        <p:spPr>
          <a:xfrm>
            <a:off x="1480305" y="2519873"/>
            <a:ext cx="716366" cy="902706"/>
          </a:xfrm>
          <a:prstGeom prst="rect">
            <a:avLst/>
          </a:prstGeom>
        </p:spPr>
      </p:pic>
      <p:sp>
        <p:nvSpPr>
          <p:cNvPr id="27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Violence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b="0" dirty="0" smtClean="0">
                <a:solidFill>
                  <a:schemeClr val="bg1">
                    <a:lumMod val="95000"/>
                  </a:schemeClr>
                </a:solidFill>
              </a:rPr>
              <a:t>and</a:t>
            </a:r>
            <a:r>
              <a:rPr lang="en-US" b="0" dirty="0" smtClean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Cultural Competence</a:t>
            </a:r>
            <a:endParaRPr lang="en-US" b="0" dirty="0"/>
          </a:p>
        </p:txBody>
      </p:sp>
      <p:pic>
        <p:nvPicPr>
          <p:cNvPr id="28" name="Picture 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68635" y="2490521"/>
            <a:ext cx="822979" cy="733540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453665" y="2331532"/>
            <a:ext cx="1012502" cy="1097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9407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Violence</a:t>
            </a:r>
          </a:p>
        </p:txBody>
      </p:sp>
      <p:sp>
        <p:nvSpPr>
          <p:cNvPr id="5" name="Rectangle 4"/>
          <p:cNvSpPr/>
          <p:nvPr/>
        </p:nvSpPr>
        <p:spPr>
          <a:xfrm>
            <a:off x="4829354" y="2841764"/>
            <a:ext cx="7318821" cy="1200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n-US" sz="2400" b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mestic</a:t>
            </a:r>
            <a:r>
              <a:rPr lang="en-US" sz="2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iolence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</a:t>
            </a:r>
            <a:r>
              <a:rPr lang="en-US" sz="2400" b="1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ysical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olence, sexual violence, stalking and psychological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gression committed by </a:t>
            </a:r>
            <a:r>
              <a:rPr lang="en-US" sz="24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urrent or former intimate </a:t>
            </a:r>
            <a:r>
              <a:rPr lang="en-US" sz="2400" dirty="0" smtClean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tner.</a:t>
            </a:r>
            <a:endParaRPr lang="en-US" sz="2400" dirty="0">
              <a:solidFill>
                <a:schemeClr val="tx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705231" y="4220069"/>
            <a:ext cx="60603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indent="457200" algn="r">
              <a:spcAft>
                <a:spcPts val="1200"/>
              </a:spcAft>
            </a:pPr>
            <a:r>
              <a:rPr lang="en-US" sz="2400" i="1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 for Disease Control and Prevention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97" t="-1487" r="8096" b="1487"/>
          <a:stretch/>
        </p:blipFill>
        <p:spPr>
          <a:xfrm>
            <a:off x="-12145" y="1996146"/>
            <a:ext cx="4643120" cy="4099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6528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Violence Case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7CFD8A09-1B3E-4C36-BBB3-27A2D7B3221F}"/>
              </a:ext>
            </a:extLst>
          </p:cNvPr>
          <p:cNvSpPr/>
          <p:nvPr/>
        </p:nvSpPr>
        <p:spPr>
          <a:xfrm rot="10800000" flipH="1">
            <a:off x="2519820" y="3409667"/>
            <a:ext cx="9672180" cy="986631"/>
          </a:xfrm>
          <a:custGeom>
            <a:avLst/>
            <a:gdLst>
              <a:gd name="connsiteX0" fmla="*/ 0 w 9163574"/>
              <a:gd name="connsiteY0" fmla="*/ 0 h 1249960"/>
              <a:gd name="connsiteX1" fmla="*/ 9163574 w 9163574"/>
              <a:gd name="connsiteY1" fmla="*/ 0 h 1249960"/>
              <a:gd name="connsiteX2" fmla="*/ 9163574 w 9163574"/>
              <a:gd name="connsiteY2" fmla="*/ 1249960 h 1249960"/>
              <a:gd name="connsiteX3" fmla="*/ 0 w 9163574"/>
              <a:gd name="connsiteY3" fmla="*/ 1249960 h 1249960"/>
              <a:gd name="connsiteX4" fmla="*/ 0 w 9163574"/>
              <a:gd name="connsiteY4" fmla="*/ 0 h 1249960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882428 w 10046002"/>
              <a:gd name="connsiteY3" fmla="*/ 1278735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1000725 w 10046002"/>
              <a:gd name="connsiteY3" fmla="*/ 1253157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904809 w 10046002"/>
              <a:gd name="connsiteY3" fmla="*/ 1272340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36411 w 10046002"/>
              <a:gd name="connsiteY1" fmla="*/ 3198 h 1278735"/>
              <a:gd name="connsiteX2" fmla="*/ 10046002 w 10046002"/>
              <a:gd name="connsiteY2" fmla="*/ 1278735 h 1278735"/>
              <a:gd name="connsiteX3" fmla="*/ 904809 w 10046002"/>
              <a:gd name="connsiteY3" fmla="*/ 1272340 h 1278735"/>
              <a:gd name="connsiteX4" fmla="*/ 0 w 10046002"/>
              <a:gd name="connsiteY4" fmla="*/ 0 h 1278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6002" h="1278735">
                <a:moveTo>
                  <a:pt x="0" y="0"/>
                </a:moveTo>
                <a:lnTo>
                  <a:pt x="10036411" y="3198"/>
                </a:lnTo>
                <a:lnTo>
                  <a:pt x="10046002" y="1278735"/>
                </a:lnTo>
                <a:lnTo>
                  <a:pt x="904809" y="1272340"/>
                </a:lnTo>
                <a:lnTo>
                  <a:pt x="0" y="0"/>
                </a:lnTo>
                <a:close/>
              </a:path>
            </a:pathLst>
          </a:custGeom>
          <a:solidFill>
            <a:srgbClr val="F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reeform 18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320EAC31-83E6-4BC0-A483-CCA8E34E2724}"/>
              </a:ext>
            </a:extLst>
          </p:cNvPr>
          <p:cNvSpPr>
            <a:spLocks/>
          </p:cNvSpPr>
          <p:nvPr/>
        </p:nvSpPr>
        <p:spPr bwMode="auto">
          <a:xfrm>
            <a:off x="3807654" y="3678446"/>
            <a:ext cx="410076" cy="411057"/>
          </a:xfrm>
          <a:custGeom>
            <a:avLst/>
            <a:gdLst>
              <a:gd name="T0" fmla="*/ 320 w 352"/>
              <a:gd name="T1" fmla="*/ 0 h 352"/>
              <a:gd name="T2" fmla="*/ 32 w 352"/>
              <a:gd name="T3" fmla="*/ 0 h 352"/>
              <a:gd name="T4" fmla="*/ 0 w 352"/>
              <a:gd name="T5" fmla="*/ 32 h 352"/>
              <a:gd name="T6" fmla="*/ 0 w 352"/>
              <a:gd name="T7" fmla="*/ 320 h 352"/>
              <a:gd name="T8" fmla="*/ 32 w 352"/>
              <a:gd name="T9" fmla="*/ 352 h 352"/>
              <a:gd name="T10" fmla="*/ 320 w 352"/>
              <a:gd name="T11" fmla="*/ 352 h 352"/>
              <a:gd name="T12" fmla="*/ 352 w 352"/>
              <a:gd name="T13" fmla="*/ 320 h 352"/>
              <a:gd name="T14" fmla="*/ 352 w 352"/>
              <a:gd name="T15" fmla="*/ 32 h 352"/>
              <a:gd name="T16" fmla="*/ 320 w 352"/>
              <a:gd name="T17" fmla="*/ 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52" h="352">
                <a:moveTo>
                  <a:pt x="320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38"/>
                  <a:pt x="14" y="352"/>
                  <a:pt x="32" y="352"/>
                </a:cubicBezTo>
                <a:cubicBezTo>
                  <a:pt x="320" y="352"/>
                  <a:pt x="320" y="352"/>
                  <a:pt x="320" y="352"/>
                </a:cubicBezTo>
                <a:cubicBezTo>
                  <a:pt x="338" y="352"/>
                  <a:pt x="352" y="338"/>
                  <a:pt x="352" y="320"/>
                </a:cubicBezTo>
                <a:cubicBezTo>
                  <a:pt x="352" y="32"/>
                  <a:pt x="352" y="32"/>
                  <a:pt x="352" y="32"/>
                </a:cubicBezTo>
                <a:cubicBezTo>
                  <a:pt x="352" y="14"/>
                  <a:pt x="338" y="0"/>
                  <a:pt x="3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" name="Freeform 19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46712559-F19D-483C-A20D-A756489742EC}"/>
              </a:ext>
            </a:extLst>
          </p:cNvPr>
          <p:cNvSpPr>
            <a:spLocks/>
          </p:cNvSpPr>
          <p:nvPr/>
        </p:nvSpPr>
        <p:spPr bwMode="auto">
          <a:xfrm>
            <a:off x="4255010" y="3732403"/>
            <a:ext cx="149609" cy="302161"/>
          </a:xfrm>
          <a:custGeom>
            <a:avLst/>
            <a:gdLst>
              <a:gd name="T0" fmla="*/ 101 w 128"/>
              <a:gd name="T1" fmla="*/ 9 h 259"/>
              <a:gd name="T2" fmla="*/ 42 w 128"/>
              <a:gd name="T3" fmla="*/ 44 h 259"/>
              <a:gd name="T4" fmla="*/ 0 w 128"/>
              <a:gd name="T5" fmla="*/ 69 h 259"/>
              <a:gd name="T6" fmla="*/ 0 w 128"/>
              <a:gd name="T7" fmla="*/ 189 h 259"/>
              <a:gd name="T8" fmla="*/ 42 w 128"/>
              <a:gd name="T9" fmla="*/ 214 h 259"/>
              <a:gd name="T10" fmla="*/ 101 w 128"/>
              <a:gd name="T11" fmla="*/ 250 h 259"/>
              <a:gd name="T12" fmla="*/ 128 w 128"/>
              <a:gd name="T13" fmla="*/ 234 h 259"/>
              <a:gd name="T14" fmla="*/ 128 w 128"/>
              <a:gd name="T15" fmla="*/ 25 h 259"/>
              <a:gd name="T16" fmla="*/ 101 w 128"/>
              <a:gd name="T17" fmla="*/ 9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8" h="259">
                <a:moveTo>
                  <a:pt x="101" y="9"/>
                </a:moveTo>
                <a:cubicBezTo>
                  <a:pt x="42" y="44"/>
                  <a:pt x="42" y="44"/>
                  <a:pt x="42" y="44"/>
                </a:cubicBezTo>
                <a:cubicBezTo>
                  <a:pt x="29" y="52"/>
                  <a:pt x="13" y="62"/>
                  <a:pt x="0" y="69"/>
                </a:cubicBezTo>
                <a:cubicBezTo>
                  <a:pt x="0" y="189"/>
                  <a:pt x="0" y="189"/>
                  <a:pt x="0" y="189"/>
                </a:cubicBezTo>
                <a:cubicBezTo>
                  <a:pt x="13" y="197"/>
                  <a:pt x="29" y="207"/>
                  <a:pt x="42" y="214"/>
                </a:cubicBezTo>
                <a:cubicBezTo>
                  <a:pt x="101" y="250"/>
                  <a:pt x="101" y="250"/>
                  <a:pt x="101" y="250"/>
                </a:cubicBezTo>
                <a:cubicBezTo>
                  <a:pt x="116" y="259"/>
                  <a:pt x="128" y="252"/>
                  <a:pt x="128" y="234"/>
                </a:cubicBezTo>
                <a:cubicBezTo>
                  <a:pt x="128" y="25"/>
                  <a:pt x="128" y="25"/>
                  <a:pt x="128" y="25"/>
                </a:cubicBezTo>
                <a:cubicBezTo>
                  <a:pt x="128" y="7"/>
                  <a:pt x="116" y="0"/>
                  <a:pt x="101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" name="Rectangle 7"/>
          <p:cNvSpPr/>
          <p:nvPr/>
        </p:nvSpPr>
        <p:spPr>
          <a:xfrm>
            <a:off x="5182372" y="3420507"/>
            <a:ext cx="6072028" cy="914400"/>
          </a:xfrm>
          <a:prstGeom prst="rect">
            <a:avLst/>
          </a:prstGeom>
          <a:solidFill>
            <a:srgbClr val="F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latin typeface="Arial" pitchFamily="34" charset="0"/>
                <a:cs typeface="Arial" pitchFamily="34" charset="0"/>
              </a:rPr>
              <a:t>Video: Why We Stayed</a:t>
            </a:r>
            <a:endParaRPr lang="en-US" sz="24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47085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"/>
          <p:cNvSpPr>
            <a:spLocks noGrp="1"/>
          </p:cNvSpPr>
          <p:nvPr>
            <p:ph sz="quarter" idx="10"/>
          </p:nvPr>
        </p:nvSpPr>
        <p:spPr>
          <a:xfrm>
            <a:off x="837780" y="1750953"/>
            <a:ext cx="10193741" cy="4538933"/>
          </a:xfrm>
        </p:spPr>
        <p:txBody>
          <a:bodyPr/>
          <a:lstStyle/>
          <a:p>
            <a:pPr marL="0" lvl="1">
              <a:spcAft>
                <a:spcPts val="1200"/>
              </a:spcAft>
              <a:buClr>
                <a:srgbClr val="FF0000"/>
              </a:buClr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iscussing the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“Why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e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tayed”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video:</a:t>
            </a:r>
          </a:p>
          <a:p>
            <a:pPr marL="457200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hat was going through your mind while you watched the video?</a:t>
            </a:r>
          </a:p>
          <a:p>
            <a:pPr marL="457200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How do you think hearing these stories might influence your advocacy?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as there a “why I stayed” reason that surprised you or spoke to you?</a:t>
            </a:r>
          </a:p>
          <a:p>
            <a:pPr marL="457200" lvl="1" indent="-457200">
              <a:spcAft>
                <a:spcPts val="12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Which reasons were not covered?</a:t>
            </a:r>
          </a:p>
        </p:txBody>
      </p:sp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Domestic Violence Case</a:t>
            </a:r>
          </a:p>
        </p:txBody>
      </p:sp>
    </p:spTree>
    <p:extLst>
      <p:ext uri="{BB962C8B-B14F-4D97-AF65-F5344CB8AC3E}">
        <p14:creationId xmlns:p14="http://schemas.microsoft.com/office/powerpoint/2010/main" val="231375846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8"/>
          <p:cNvSpPr>
            <a:spLocks noGrp="1"/>
          </p:cNvSpPr>
          <p:nvPr>
            <p:ph type="title"/>
          </p:nvPr>
        </p:nvSpPr>
        <p:spPr>
          <a:xfrm>
            <a:off x="-12145" y="97245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/>
              <a:t>Chapter 6: </a:t>
            </a:r>
            <a: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  <a:t/>
            </a:r>
            <a:br>
              <a:rPr lang="en-US" dirty="0">
                <a:solidFill>
                  <a:schemeClr val="bg1">
                    <a:lumMod val="95000"/>
                  </a:schemeClr>
                </a:solidFill>
                <a:latin typeface="Proxima Nova Rg" panose="02000506030000020004" pitchFamily="50" charset="0"/>
              </a:rPr>
            </a:br>
            <a:r>
              <a:rPr lang="en-US" b="0" dirty="0">
                <a:solidFill>
                  <a:schemeClr val="bg1">
                    <a:lumMod val="95000"/>
                  </a:schemeClr>
                </a:solidFill>
              </a:rPr>
              <a:t>Impact of Domestic Violenc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486" y="4172897"/>
            <a:ext cx="2363084" cy="2361833"/>
          </a:xfrm>
          <a:prstGeom prst="rect">
            <a:avLst/>
          </a:prstGeom>
        </p:spPr>
      </p:pic>
      <p:sp>
        <p:nvSpPr>
          <p:cNvPr id="5" name="Rectangle 1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E8E54286-009C-4BF2-B1E9-4217CD0B5606}"/>
              </a:ext>
            </a:extLst>
          </p:cNvPr>
          <p:cNvSpPr/>
          <p:nvPr/>
        </p:nvSpPr>
        <p:spPr>
          <a:xfrm rot="10800000" flipH="1">
            <a:off x="2519820" y="3409667"/>
            <a:ext cx="9672180" cy="986631"/>
          </a:xfrm>
          <a:custGeom>
            <a:avLst/>
            <a:gdLst>
              <a:gd name="connsiteX0" fmla="*/ 0 w 9163574"/>
              <a:gd name="connsiteY0" fmla="*/ 0 h 1249960"/>
              <a:gd name="connsiteX1" fmla="*/ 9163574 w 9163574"/>
              <a:gd name="connsiteY1" fmla="*/ 0 h 1249960"/>
              <a:gd name="connsiteX2" fmla="*/ 9163574 w 9163574"/>
              <a:gd name="connsiteY2" fmla="*/ 1249960 h 1249960"/>
              <a:gd name="connsiteX3" fmla="*/ 0 w 9163574"/>
              <a:gd name="connsiteY3" fmla="*/ 1249960 h 1249960"/>
              <a:gd name="connsiteX4" fmla="*/ 0 w 9163574"/>
              <a:gd name="connsiteY4" fmla="*/ 0 h 1249960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882428 w 10046002"/>
              <a:gd name="connsiteY3" fmla="*/ 1278735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1000725 w 10046002"/>
              <a:gd name="connsiteY3" fmla="*/ 1253157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46002 w 10046002"/>
              <a:gd name="connsiteY1" fmla="*/ 28775 h 1278735"/>
              <a:gd name="connsiteX2" fmla="*/ 10046002 w 10046002"/>
              <a:gd name="connsiteY2" fmla="*/ 1278735 h 1278735"/>
              <a:gd name="connsiteX3" fmla="*/ 904809 w 10046002"/>
              <a:gd name="connsiteY3" fmla="*/ 1272340 h 1278735"/>
              <a:gd name="connsiteX4" fmla="*/ 0 w 10046002"/>
              <a:gd name="connsiteY4" fmla="*/ 0 h 1278735"/>
              <a:gd name="connsiteX0" fmla="*/ 0 w 10046002"/>
              <a:gd name="connsiteY0" fmla="*/ 0 h 1278735"/>
              <a:gd name="connsiteX1" fmla="*/ 10036411 w 10046002"/>
              <a:gd name="connsiteY1" fmla="*/ 3198 h 1278735"/>
              <a:gd name="connsiteX2" fmla="*/ 10046002 w 10046002"/>
              <a:gd name="connsiteY2" fmla="*/ 1278735 h 1278735"/>
              <a:gd name="connsiteX3" fmla="*/ 904809 w 10046002"/>
              <a:gd name="connsiteY3" fmla="*/ 1272340 h 1278735"/>
              <a:gd name="connsiteX4" fmla="*/ 0 w 10046002"/>
              <a:gd name="connsiteY4" fmla="*/ 0 h 1278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46002" h="1278735">
                <a:moveTo>
                  <a:pt x="0" y="0"/>
                </a:moveTo>
                <a:lnTo>
                  <a:pt x="10036411" y="3198"/>
                </a:lnTo>
                <a:lnTo>
                  <a:pt x="10046002" y="1278735"/>
                </a:lnTo>
                <a:lnTo>
                  <a:pt x="904809" y="1272340"/>
                </a:lnTo>
                <a:lnTo>
                  <a:pt x="0" y="0"/>
                </a:lnTo>
                <a:close/>
              </a:path>
            </a:pathLst>
          </a:custGeom>
          <a:solidFill>
            <a:srgbClr val="F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Freeform 18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01812513-0CCF-4E9D-8CF9-64384F7991F0}"/>
              </a:ext>
            </a:extLst>
          </p:cNvPr>
          <p:cNvSpPr>
            <a:spLocks/>
          </p:cNvSpPr>
          <p:nvPr/>
        </p:nvSpPr>
        <p:spPr bwMode="auto">
          <a:xfrm>
            <a:off x="3807654" y="3678446"/>
            <a:ext cx="410076" cy="411057"/>
          </a:xfrm>
          <a:custGeom>
            <a:avLst/>
            <a:gdLst>
              <a:gd name="T0" fmla="*/ 320 w 352"/>
              <a:gd name="T1" fmla="*/ 0 h 352"/>
              <a:gd name="T2" fmla="*/ 32 w 352"/>
              <a:gd name="T3" fmla="*/ 0 h 352"/>
              <a:gd name="T4" fmla="*/ 0 w 352"/>
              <a:gd name="T5" fmla="*/ 32 h 352"/>
              <a:gd name="T6" fmla="*/ 0 w 352"/>
              <a:gd name="T7" fmla="*/ 320 h 352"/>
              <a:gd name="T8" fmla="*/ 32 w 352"/>
              <a:gd name="T9" fmla="*/ 352 h 352"/>
              <a:gd name="T10" fmla="*/ 320 w 352"/>
              <a:gd name="T11" fmla="*/ 352 h 352"/>
              <a:gd name="T12" fmla="*/ 352 w 352"/>
              <a:gd name="T13" fmla="*/ 320 h 352"/>
              <a:gd name="T14" fmla="*/ 352 w 352"/>
              <a:gd name="T15" fmla="*/ 32 h 352"/>
              <a:gd name="T16" fmla="*/ 320 w 352"/>
              <a:gd name="T17" fmla="*/ 0 h 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52" h="352">
                <a:moveTo>
                  <a:pt x="320" y="0"/>
                </a:move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320"/>
                  <a:pt x="0" y="320"/>
                  <a:pt x="0" y="320"/>
                </a:cubicBezTo>
                <a:cubicBezTo>
                  <a:pt x="0" y="338"/>
                  <a:pt x="14" y="352"/>
                  <a:pt x="32" y="352"/>
                </a:cubicBezTo>
                <a:cubicBezTo>
                  <a:pt x="320" y="352"/>
                  <a:pt x="320" y="352"/>
                  <a:pt x="320" y="352"/>
                </a:cubicBezTo>
                <a:cubicBezTo>
                  <a:pt x="338" y="352"/>
                  <a:pt x="352" y="338"/>
                  <a:pt x="352" y="320"/>
                </a:cubicBezTo>
                <a:cubicBezTo>
                  <a:pt x="352" y="32"/>
                  <a:pt x="352" y="32"/>
                  <a:pt x="352" y="32"/>
                </a:cubicBezTo>
                <a:cubicBezTo>
                  <a:pt x="352" y="14"/>
                  <a:pt x="338" y="0"/>
                  <a:pt x="32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9" name="Freeform 19">
            <a:extLst>
              <a:ext uri="{FF2B5EF4-FFF2-40B4-BE49-F238E27FC236}">
                <a16:creationId xmlns:a16="http://schemas.microsoft.com/office/drawing/2014/main" xmlns="" xmlns:mv="urn:schemas-microsoft-com:mac:vml" xmlns:mc="http://schemas.openxmlformats.org/markup-compatibility/2006" id="{4FD78181-ED89-4889-8FF9-477FCB7A6017}"/>
              </a:ext>
            </a:extLst>
          </p:cNvPr>
          <p:cNvSpPr>
            <a:spLocks/>
          </p:cNvSpPr>
          <p:nvPr/>
        </p:nvSpPr>
        <p:spPr bwMode="auto">
          <a:xfrm>
            <a:off x="4255010" y="3732403"/>
            <a:ext cx="149609" cy="302161"/>
          </a:xfrm>
          <a:custGeom>
            <a:avLst/>
            <a:gdLst>
              <a:gd name="T0" fmla="*/ 101 w 128"/>
              <a:gd name="T1" fmla="*/ 9 h 259"/>
              <a:gd name="T2" fmla="*/ 42 w 128"/>
              <a:gd name="T3" fmla="*/ 44 h 259"/>
              <a:gd name="T4" fmla="*/ 0 w 128"/>
              <a:gd name="T5" fmla="*/ 69 h 259"/>
              <a:gd name="T6" fmla="*/ 0 w 128"/>
              <a:gd name="T7" fmla="*/ 189 h 259"/>
              <a:gd name="T8" fmla="*/ 42 w 128"/>
              <a:gd name="T9" fmla="*/ 214 h 259"/>
              <a:gd name="T10" fmla="*/ 101 w 128"/>
              <a:gd name="T11" fmla="*/ 250 h 259"/>
              <a:gd name="T12" fmla="*/ 128 w 128"/>
              <a:gd name="T13" fmla="*/ 234 h 259"/>
              <a:gd name="T14" fmla="*/ 128 w 128"/>
              <a:gd name="T15" fmla="*/ 25 h 259"/>
              <a:gd name="T16" fmla="*/ 101 w 128"/>
              <a:gd name="T17" fmla="*/ 9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28" h="259">
                <a:moveTo>
                  <a:pt x="101" y="9"/>
                </a:moveTo>
                <a:cubicBezTo>
                  <a:pt x="42" y="44"/>
                  <a:pt x="42" y="44"/>
                  <a:pt x="42" y="44"/>
                </a:cubicBezTo>
                <a:cubicBezTo>
                  <a:pt x="29" y="52"/>
                  <a:pt x="13" y="62"/>
                  <a:pt x="0" y="69"/>
                </a:cubicBezTo>
                <a:cubicBezTo>
                  <a:pt x="0" y="189"/>
                  <a:pt x="0" y="189"/>
                  <a:pt x="0" y="189"/>
                </a:cubicBezTo>
                <a:cubicBezTo>
                  <a:pt x="13" y="197"/>
                  <a:pt x="29" y="207"/>
                  <a:pt x="42" y="214"/>
                </a:cubicBezTo>
                <a:cubicBezTo>
                  <a:pt x="101" y="250"/>
                  <a:pt x="101" y="250"/>
                  <a:pt x="101" y="250"/>
                </a:cubicBezTo>
                <a:cubicBezTo>
                  <a:pt x="116" y="259"/>
                  <a:pt x="128" y="252"/>
                  <a:pt x="128" y="234"/>
                </a:cubicBezTo>
                <a:cubicBezTo>
                  <a:pt x="128" y="25"/>
                  <a:pt x="128" y="25"/>
                  <a:pt x="128" y="25"/>
                </a:cubicBezTo>
                <a:cubicBezTo>
                  <a:pt x="128" y="7"/>
                  <a:pt x="116" y="0"/>
                  <a:pt x="101" y="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10" name="Rectangle 9"/>
          <p:cNvSpPr/>
          <p:nvPr/>
        </p:nvSpPr>
        <p:spPr>
          <a:xfrm>
            <a:off x="4986329" y="3463122"/>
            <a:ext cx="7205671" cy="914400"/>
          </a:xfrm>
          <a:prstGeom prst="rect">
            <a:avLst/>
          </a:prstGeom>
          <a:solidFill>
            <a:srgbClr val="F5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 smtClean="0">
                <a:latin typeface="Arial" pitchFamily="34" charset="0"/>
                <a:cs typeface="Arial" pitchFamily="34" charset="0"/>
              </a:rPr>
              <a:t>Video: Lisa’s 911 Call</a:t>
            </a:r>
            <a:endParaRPr lang="en-US" sz="2400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74091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333</TotalTime>
  <Words>1284</Words>
  <Application>Microsoft Macintosh PowerPoint</Application>
  <PresentationFormat>Custom</PresentationFormat>
  <Paragraphs>199</Paragraphs>
  <Slides>31</Slides>
  <Notes>1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3" baseType="lpstr">
      <vt:lpstr>Office Theme</vt:lpstr>
      <vt:lpstr>think-cell Slide</vt:lpstr>
      <vt:lpstr>PowerPoint Presentation</vt:lpstr>
      <vt:lpstr>Chapter 6:  Domestic Violence, Bias and Cultural Competence</vt:lpstr>
      <vt:lpstr>Chapter 6:  Pre-Work Recap</vt:lpstr>
      <vt:lpstr>Chapter 6:  Competencies</vt:lpstr>
      <vt:lpstr>Chapter 6:  Domestic Violence and Cultural Competence</vt:lpstr>
      <vt:lpstr>Chapter 6:  Domestic Violence</vt:lpstr>
      <vt:lpstr>Chapter 6:  Domestic Violence Case</vt:lpstr>
      <vt:lpstr>Chapter 6:  Domestic Violence Case</vt:lpstr>
      <vt:lpstr>Chapter 6:  Impact of Domestic Violence</vt:lpstr>
      <vt:lpstr>Chapter 6:  Impact of Domestic Violence</vt:lpstr>
      <vt:lpstr>Chapter 6:  Domestic Violence</vt:lpstr>
      <vt:lpstr>Chapter 6: Challenges</vt:lpstr>
      <vt:lpstr>Chapter 6:  Domestic Violence and Cultural Competence</vt:lpstr>
      <vt:lpstr>Chapter 6:  Culture and Perceptions</vt:lpstr>
      <vt:lpstr>Chapter 6: Skill Building: Cultural Competence</vt:lpstr>
      <vt:lpstr>Chapter 6:  Stereotypes</vt:lpstr>
      <vt:lpstr>Chapter 6:  Cultural Competence</vt:lpstr>
      <vt:lpstr>Chapter 6:  Increasing Cultural Competence</vt:lpstr>
      <vt:lpstr>Chapter 6:  Domestic Violence and Cultural Competence</vt:lpstr>
      <vt:lpstr>Chapter 6:  The Amarillo Case</vt:lpstr>
      <vt:lpstr>Chapter 6:  The Amarillo Case</vt:lpstr>
      <vt:lpstr>Chapter 6:  The Amarillo Case</vt:lpstr>
      <vt:lpstr>Chapter 6:  The Amarillo Case</vt:lpstr>
      <vt:lpstr>Chapter 6:  The Amarillo Case</vt:lpstr>
      <vt:lpstr>Chapter 6:  The Amarillo Case</vt:lpstr>
      <vt:lpstr>Chapter 6:  The Amarillo Case</vt:lpstr>
      <vt:lpstr>Chapter 6: Amarillo Case</vt:lpstr>
      <vt:lpstr>Chapter 6:  Domestic Violence and Cultural Competence</vt:lpstr>
      <vt:lpstr>Chapter 6:  Domestic Violence and Cultural Competence</vt:lpstr>
      <vt:lpstr>Chapter 6:  Evaluation</vt:lpstr>
      <vt:lpstr>Chapter 7:  Pre-Work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wati</dc:creator>
  <cp:lastModifiedBy>Abe Young</cp:lastModifiedBy>
  <cp:revision>1422</cp:revision>
  <dcterms:created xsi:type="dcterms:W3CDTF">2018-08-02T16:22:46Z</dcterms:created>
  <dcterms:modified xsi:type="dcterms:W3CDTF">2018-08-17T20:33:04Z</dcterms:modified>
</cp:coreProperties>
</file>